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2.xml" ContentType="application/vnd.openxmlformats-officedocument.presentationml.tags+xml"/>
  <Override PartName="/ppt/tags/tag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63" r:id="rId3"/>
    <p:sldId id="265" r:id="rId4"/>
    <p:sldId id="266" r:id="rId5"/>
    <p:sldId id="264" r:id="rId6"/>
    <p:sldId id="275" r:id="rId7"/>
    <p:sldId id="286" r:id="rId8"/>
    <p:sldId id="276" r:id="rId9"/>
    <p:sldId id="278" r:id="rId10"/>
    <p:sldId id="287" r:id="rId11"/>
    <p:sldId id="277" r:id="rId12"/>
    <p:sldId id="288" r:id="rId13"/>
    <p:sldId id="279" r:id="rId14"/>
    <p:sldId id="280" r:id="rId15"/>
    <p:sldId id="281" r:id="rId16"/>
    <p:sldId id="282" r:id="rId17"/>
    <p:sldId id="283" r:id="rId18"/>
    <p:sldId id="397" r:id="rId19"/>
    <p:sldId id="268" r:id="rId20"/>
    <p:sldId id="267" r:id="rId21"/>
    <p:sldId id="285" r:id="rId22"/>
    <p:sldId id="289" r:id="rId23"/>
    <p:sldId id="259" r:id="rId24"/>
  </p:sldIdLst>
  <p:sldSz cx="12192000" cy="6858000"/>
  <p:notesSz cx="6742113" cy="9872663"/>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6" d="100"/>
          <a:sy n="76" d="100"/>
        </p:scale>
        <p:origin x="720"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8D5D03-7529-43C5-8A14-43F7A944E604}" type="doc">
      <dgm:prSet loTypeId="urn:microsoft.com/office/officeart/2009/3/layout/HorizontalOrganizationChart" loCatId="hierarchy" qsTypeId="urn:microsoft.com/office/officeart/2005/8/quickstyle/simple1" qsCatId="simple" csTypeId="urn:microsoft.com/office/officeart/2005/8/colors/accent4_2" csCatId="accent4" phldr="1"/>
      <dgm:spPr/>
      <dgm:t>
        <a:bodyPr/>
        <a:lstStyle/>
        <a:p>
          <a:endParaRPr lang="en-NZ"/>
        </a:p>
      </dgm:t>
    </dgm:pt>
    <dgm:pt modelId="{42A5549E-8F09-4E2B-80C6-6251C91EC841}">
      <dgm:prSet phldrT="[Text]" custT="1"/>
      <dgm:spPr>
        <a:ln>
          <a:solidFill>
            <a:schemeClr val="tx1"/>
          </a:solidFill>
        </a:ln>
      </dgm:spPr>
      <dgm:t>
        <a:bodyPr/>
        <a:lstStyle/>
        <a:p>
          <a:r>
            <a:rPr lang="en-NZ" sz="1200" dirty="0">
              <a:solidFill>
                <a:schemeClr val="tx1"/>
              </a:solidFill>
              <a:latin typeface="Arial Nova Cond" panose="020B0506020202020204" pitchFamily="34" charset="0"/>
            </a:rPr>
            <a:t>Profit After Direct Expenses</a:t>
          </a:r>
        </a:p>
      </dgm:t>
    </dgm:pt>
    <dgm:pt modelId="{2D628C13-330C-42F2-8F1B-AC758E8331DE}" type="parTrans" cxnId="{54349BAF-AF96-4185-A620-DDEE817A882C}">
      <dgm:prSet/>
      <dgm:spPr/>
      <dgm:t>
        <a:bodyPr/>
        <a:lstStyle/>
        <a:p>
          <a:endParaRPr lang="en-NZ" sz="1200">
            <a:solidFill>
              <a:schemeClr val="tx1"/>
            </a:solidFill>
            <a:latin typeface="Arial Nova Cond" panose="020B0506020202020204" pitchFamily="34" charset="0"/>
          </a:endParaRPr>
        </a:p>
      </dgm:t>
    </dgm:pt>
    <dgm:pt modelId="{C70C11C7-6815-4DC4-A83E-7DAB5AE815DF}" type="sibTrans" cxnId="{54349BAF-AF96-4185-A620-DDEE817A882C}">
      <dgm:prSet/>
      <dgm:spPr/>
      <dgm:t>
        <a:bodyPr/>
        <a:lstStyle/>
        <a:p>
          <a:endParaRPr lang="en-NZ" sz="1200">
            <a:solidFill>
              <a:schemeClr val="tx1"/>
            </a:solidFill>
            <a:latin typeface="Arial Nova Cond" panose="020B0506020202020204" pitchFamily="34" charset="0"/>
          </a:endParaRPr>
        </a:p>
      </dgm:t>
    </dgm:pt>
    <dgm:pt modelId="{7EF01FE2-DDC0-49DC-85CC-8B6ACD7AAB7C}">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Sales</a:t>
          </a:r>
        </a:p>
      </dgm:t>
    </dgm:pt>
    <dgm:pt modelId="{0E71BB9E-594B-46EA-BBED-197BE70CE6CA}" type="parTrans" cxnId="{0C215530-3AEE-4E2B-8689-55228482B2C7}">
      <dgm:prSet/>
      <dgm:spPr/>
      <dgm:t>
        <a:bodyPr/>
        <a:lstStyle/>
        <a:p>
          <a:endParaRPr lang="en-NZ" sz="1200">
            <a:solidFill>
              <a:schemeClr val="tx1"/>
            </a:solidFill>
            <a:latin typeface="Arial Nova Cond" panose="020B0506020202020204" pitchFamily="34" charset="0"/>
          </a:endParaRPr>
        </a:p>
      </dgm:t>
    </dgm:pt>
    <dgm:pt modelId="{32C31978-02D8-413C-9778-ED485F7D9D70}" type="sibTrans" cxnId="{0C215530-3AEE-4E2B-8689-55228482B2C7}">
      <dgm:prSet/>
      <dgm:spPr/>
      <dgm:t>
        <a:bodyPr/>
        <a:lstStyle/>
        <a:p>
          <a:endParaRPr lang="en-NZ" sz="1200">
            <a:solidFill>
              <a:schemeClr val="tx1"/>
            </a:solidFill>
            <a:latin typeface="Arial Nova Cond" panose="020B0506020202020204" pitchFamily="34" charset="0"/>
          </a:endParaRPr>
        </a:p>
      </dgm:t>
    </dgm:pt>
    <dgm:pt modelId="{926DE298-FB1E-43D1-B50E-C9AE7FF8945A}">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Expenses</a:t>
          </a:r>
        </a:p>
      </dgm:t>
    </dgm:pt>
    <dgm:pt modelId="{8D63D800-EA79-4019-8D85-F1C94037A1BF}" type="parTrans" cxnId="{427891E2-7B7B-4E04-9AF4-06916250960B}">
      <dgm:prSet/>
      <dgm:spPr/>
      <dgm:t>
        <a:bodyPr/>
        <a:lstStyle/>
        <a:p>
          <a:endParaRPr lang="en-NZ" sz="1200">
            <a:solidFill>
              <a:schemeClr val="tx1"/>
            </a:solidFill>
            <a:latin typeface="Arial Nova Cond" panose="020B0506020202020204" pitchFamily="34" charset="0"/>
          </a:endParaRPr>
        </a:p>
      </dgm:t>
    </dgm:pt>
    <dgm:pt modelId="{B7ED089B-408F-4737-8E7C-ACF26F60C323}" type="sibTrans" cxnId="{427891E2-7B7B-4E04-9AF4-06916250960B}">
      <dgm:prSet/>
      <dgm:spPr/>
      <dgm:t>
        <a:bodyPr/>
        <a:lstStyle/>
        <a:p>
          <a:endParaRPr lang="en-NZ" sz="1200">
            <a:solidFill>
              <a:schemeClr val="tx1"/>
            </a:solidFill>
            <a:latin typeface="Arial Nova Cond" panose="020B0506020202020204" pitchFamily="34" charset="0"/>
          </a:endParaRPr>
        </a:p>
      </dgm:t>
    </dgm:pt>
    <dgm:pt modelId="{D93151B5-DBB0-4703-B160-B558FA58D8D3}">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Gross Profit</a:t>
          </a:r>
        </a:p>
      </dgm:t>
    </dgm:pt>
    <dgm:pt modelId="{96E57ED8-3178-457D-B5DF-564626FC8A2C}" type="parTrans" cxnId="{E806535D-C433-4FDF-80C6-C343A9BF8819}">
      <dgm:prSet/>
      <dgm:spPr/>
      <dgm:t>
        <a:bodyPr/>
        <a:lstStyle/>
        <a:p>
          <a:endParaRPr lang="en-NZ" sz="1200">
            <a:solidFill>
              <a:schemeClr val="tx1"/>
            </a:solidFill>
          </a:endParaRPr>
        </a:p>
      </dgm:t>
    </dgm:pt>
    <dgm:pt modelId="{2D2CEDBF-02EA-4932-9B82-13B1B992D1EC}" type="sibTrans" cxnId="{E806535D-C433-4FDF-80C6-C343A9BF8819}">
      <dgm:prSet/>
      <dgm:spPr/>
      <dgm:t>
        <a:bodyPr/>
        <a:lstStyle/>
        <a:p>
          <a:endParaRPr lang="en-NZ" sz="1200">
            <a:solidFill>
              <a:schemeClr val="tx1"/>
            </a:solidFill>
          </a:endParaRPr>
        </a:p>
      </dgm:t>
    </dgm:pt>
    <dgm:pt modelId="{57EBE1A5-EFE7-4BC8-AE51-3626B21A082A}">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Margin</a:t>
          </a:r>
        </a:p>
      </dgm:t>
    </dgm:pt>
    <dgm:pt modelId="{A285D1D9-D974-4CD3-8351-19F95162E5F8}" type="parTrans" cxnId="{9B87BE15-2BF0-4A71-B029-A0CAD09B7BE0}">
      <dgm:prSet/>
      <dgm:spPr/>
      <dgm:t>
        <a:bodyPr/>
        <a:lstStyle/>
        <a:p>
          <a:endParaRPr lang="en-NZ" sz="1200">
            <a:solidFill>
              <a:schemeClr val="tx1"/>
            </a:solidFill>
          </a:endParaRPr>
        </a:p>
      </dgm:t>
    </dgm:pt>
    <dgm:pt modelId="{A99A92AB-CB53-4DAB-802D-73112F5D118A}" type="sibTrans" cxnId="{9B87BE15-2BF0-4A71-B029-A0CAD09B7BE0}">
      <dgm:prSet/>
      <dgm:spPr/>
      <dgm:t>
        <a:bodyPr/>
        <a:lstStyle/>
        <a:p>
          <a:endParaRPr lang="en-NZ" sz="1200">
            <a:solidFill>
              <a:schemeClr val="tx1"/>
            </a:solidFill>
          </a:endParaRPr>
        </a:p>
      </dgm:t>
    </dgm:pt>
    <dgm:pt modelId="{90FA9C10-E04B-4C2F-AE21-E26C07BB3657}">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LRV – Labour Efficiency</a:t>
          </a:r>
        </a:p>
      </dgm:t>
    </dgm:pt>
    <dgm:pt modelId="{A7837FF9-E2FD-4E11-A2F2-778A852CBF4D}" type="parTrans" cxnId="{4AD66A98-D612-4AF8-84BE-DAF22BA72A5B}">
      <dgm:prSet/>
      <dgm:spPr/>
      <dgm:t>
        <a:bodyPr/>
        <a:lstStyle/>
        <a:p>
          <a:endParaRPr lang="en-NZ" sz="1200">
            <a:solidFill>
              <a:schemeClr val="tx1"/>
            </a:solidFill>
          </a:endParaRPr>
        </a:p>
      </dgm:t>
    </dgm:pt>
    <dgm:pt modelId="{4A0DABF9-C89F-456B-A8B3-8146C67C9674}" type="sibTrans" cxnId="{4AD66A98-D612-4AF8-84BE-DAF22BA72A5B}">
      <dgm:prSet/>
      <dgm:spPr/>
      <dgm:t>
        <a:bodyPr/>
        <a:lstStyle/>
        <a:p>
          <a:endParaRPr lang="en-NZ" sz="1200">
            <a:solidFill>
              <a:schemeClr val="tx1"/>
            </a:solidFill>
          </a:endParaRPr>
        </a:p>
      </dgm:t>
    </dgm:pt>
    <dgm:pt modelId="{29EDBA1B-9DB7-4AC8-929B-8091038290CB}">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Productivity</a:t>
          </a:r>
        </a:p>
      </dgm:t>
    </dgm:pt>
    <dgm:pt modelId="{F03956BD-B884-497D-AB57-C80B425F4DF3}" type="parTrans" cxnId="{EC1C6B89-8726-4BDA-8939-0D3CE2BB26E8}">
      <dgm:prSet/>
      <dgm:spPr/>
      <dgm:t>
        <a:bodyPr/>
        <a:lstStyle/>
        <a:p>
          <a:endParaRPr lang="en-NZ" sz="1200">
            <a:solidFill>
              <a:schemeClr val="tx1"/>
            </a:solidFill>
          </a:endParaRPr>
        </a:p>
      </dgm:t>
    </dgm:pt>
    <dgm:pt modelId="{D650870B-42AF-43AD-8421-04B90E428F5B}" type="sibTrans" cxnId="{EC1C6B89-8726-4BDA-8939-0D3CE2BB26E8}">
      <dgm:prSet/>
      <dgm:spPr/>
      <dgm:t>
        <a:bodyPr/>
        <a:lstStyle/>
        <a:p>
          <a:endParaRPr lang="en-NZ" sz="1200">
            <a:solidFill>
              <a:schemeClr val="tx1"/>
            </a:solidFill>
          </a:endParaRPr>
        </a:p>
      </dgm:t>
    </dgm:pt>
    <dgm:pt modelId="{6D7D9EE0-4586-4279-8133-8F5CC06E314D}">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Personnel Expenses</a:t>
          </a:r>
        </a:p>
      </dgm:t>
    </dgm:pt>
    <dgm:pt modelId="{6577C86E-0EE9-4D70-8962-A85EC2730AAF}" type="parTrans" cxnId="{76D7C947-16B0-4B95-95FB-BBB5D22DBB87}">
      <dgm:prSet/>
      <dgm:spPr/>
      <dgm:t>
        <a:bodyPr/>
        <a:lstStyle/>
        <a:p>
          <a:endParaRPr lang="en-NZ">
            <a:solidFill>
              <a:schemeClr val="tx1"/>
            </a:solidFill>
          </a:endParaRPr>
        </a:p>
      </dgm:t>
    </dgm:pt>
    <dgm:pt modelId="{A7253CF2-F797-4EE8-9D73-B17E253AB704}" type="sibTrans" cxnId="{76D7C947-16B0-4B95-95FB-BBB5D22DBB87}">
      <dgm:prSet/>
      <dgm:spPr/>
      <dgm:t>
        <a:bodyPr/>
        <a:lstStyle/>
        <a:p>
          <a:endParaRPr lang="en-NZ">
            <a:solidFill>
              <a:schemeClr val="tx1"/>
            </a:solidFill>
          </a:endParaRPr>
        </a:p>
      </dgm:t>
    </dgm:pt>
    <dgm:pt modelId="{48ADEFDB-CF4C-43B6-A6C0-F7FDCE69C69E}">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Vehicles</a:t>
          </a:r>
        </a:p>
      </dgm:t>
    </dgm:pt>
    <dgm:pt modelId="{11BAA2DC-D936-4175-BE38-286C8D035EC1}" type="parTrans" cxnId="{A56FB7E7-7670-438E-9AEB-4440393C7656}">
      <dgm:prSet/>
      <dgm:spPr/>
      <dgm:t>
        <a:bodyPr/>
        <a:lstStyle/>
        <a:p>
          <a:endParaRPr lang="en-NZ">
            <a:solidFill>
              <a:schemeClr val="tx1"/>
            </a:solidFill>
          </a:endParaRPr>
        </a:p>
      </dgm:t>
    </dgm:pt>
    <dgm:pt modelId="{675BAB04-FDA6-4EDF-B474-557CB1E24F25}" type="sibTrans" cxnId="{A56FB7E7-7670-438E-9AEB-4440393C7656}">
      <dgm:prSet/>
      <dgm:spPr/>
      <dgm:t>
        <a:bodyPr/>
        <a:lstStyle/>
        <a:p>
          <a:endParaRPr lang="en-NZ">
            <a:solidFill>
              <a:schemeClr val="tx1"/>
            </a:solidFill>
          </a:endParaRPr>
        </a:p>
      </dgm:t>
    </dgm:pt>
    <dgm:pt modelId="{0488564B-53B4-4165-8551-86853A848C68}">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Goodwill &amp; Redo</a:t>
          </a:r>
        </a:p>
      </dgm:t>
    </dgm:pt>
    <dgm:pt modelId="{E102A2CF-12F2-4861-8059-C6AF8F4D1D32}" type="parTrans" cxnId="{BE99387A-3FE0-4A30-A38A-D3D57FE0EB9D}">
      <dgm:prSet/>
      <dgm:spPr/>
      <dgm:t>
        <a:bodyPr/>
        <a:lstStyle/>
        <a:p>
          <a:endParaRPr lang="en-NZ">
            <a:solidFill>
              <a:schemeClr val="tx1"/>
            </a:solidFill>
          </a:endParaRPr>
        </a:p>
      </dgm:t>
    </dgm:pt>
    <dgm:pt modelId="{04458F99-BBFB-43DE-B5C1-2E7444057003}" type="sibTrans" cxnId="{BE99387A-3FE0-4A30-A38A-D3D57FE0EB9D}">
      <dgm:prSet/>
      <dgm:spPr/>
      <dgm:t>
        <a:bodyPr/>
        <a:lstStyle/>
        <a:p>
          <a:endParaRPr lang="en-NZ">
            <a:solidFill>
              <a:schemeClr val="tx1"/>
            </a:solidFill>
          </a:endParaRPr>
        </a:p>
      </dgm:t>
    </dgm:pt>
    <dgm:pt modelId="{143972D1-B9FB-4A10-A41B-77C707D8223F}">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a:solidFill>
                <a:schemeClr val="tx1"/>
              </a:solidFill>
              <a:latin typeface="Arial Nova Cond" panose="020B0506020202020204" pitchFamily="34" charset="0"/>
              <a:ea typeface="+mn-ea"/>
              <a:cs typeface="+mn-cs"/>
            </a:rPr>
            <a:t>Overtime</a:t>
          </a:r>
          <a:endParaRPr lang="en-NZ" sz="1200" kern="1200" dirty="0">
            <a:solidFill>
              <a:schemeClr val="tx1"/>
            </a:solidFill>
            <a:latin typeface="Arial Nova Cond" panose="020B0506020202020204" pitchFamily="34" charset="0"/>
            <a:ea typeface="+mn-ea"/>
            <a:cs typeface="+mn-cs"/>
          </a:endParaRPr>
        </a:p>
      </dgm:t>
    </dgm:pt>
    <dgm:pt modelId="{AD4DC9DC-C32B-43FF-828A-8325168CCFBF}" type="parTrans" cxnId="{F6721E95-5FCB-48E2-B5A1-0BE5307B3A1D}">
      <dgm:prSet/>
      <dgm:spPr/>
      <dgm:t>
        <a:bodyPr/>
        <a:lstStyle/>
        <a:p>
          <a:endParaRPr lang="en-NZ"/>
        </a:p>
      </dgm:t>
    </dgm:pt>
    <dgm:pt modelId="{5606E26B-BE98-4536-8DEB-372618C74393}" type="sibTrans" cxnId="{F6721E95-5FCB-48E2-B5A1-0BE5307B3A1D}">
      <dgm:prSet/>
      <dgm:spPr/>
      <dgm:t>
        <a:bodyPr/>
        <a:lstStyle/>
        <a:p>
          <a:endParaRPr lang="en-NZ"/>
        </a:p>
      </dgm:t>
    </dgm:pt>
    <dgm:pt modelId="{EB89AAAF-C48C-4E97-B12D-5858720ABC64}" type="pres">
      <dgm:prSet presAssocID="{C08D5D03-7529-43C5-8A14-43F7A944E604}" presName="hierChild1" presStyleCnt="0">
        <dgm:presLayoutVars>
          <dgm:orgChart val="1"/>
          <dgm:chPref val="1"/>
          <dgm:dir/>
          <dgm:animOne val="branch"/>
          <dgm:animLvl val="lvl"/>
          <dgm:resizeHandles/>
        </dgm:presLayoutVars>
      </dgm:prSet>
      <dgm:spPr/>
    </dgm:pt>
    <dgm:pt modelId="{84FCBED1-1A86-41C0-9C57-49CFA54779DB}" type="pres">
      <dgm:prSet presAssocID="{42A5549E-8F09-4E2B-80C6-6251C91EC841}" presName="hierRoot1" presStyleCnt="0">
        <dgm:presLayoutVars>
          <dgm:hierBranch val="init"/>
        </dgm:presLayoutVars>
      </dgm:prSet>
      <dgm:spPr/>
    </dgm:pt>
    <dgm:pt modelId="{0DC089CA-27A0-44EC-A4A9-5E116CCD236D}" type="pres">
      <dgm:prSet presAssocID="{42A5549E-8F09-4E2B-80C6-6251C91EC841}" presName="rootComposite1" presStyleCnt="0"/>
      <dgm:spPr/>
    </dgm:pt>
    <dgm:pt modelId="{02DABB09-882D-4600-B9BB-A9F5B0CFA8A2}" type="pres">
      <dgm:prSet presAssocID="{42A5549E-8F09-4E2B-80C6-6251C91EC841}" presName="rootText1" presStyleLbl="node0" presStyleIdx="0" presStyleCnt="1">
        <dgm:presLayoutVars>
          <dgm:chPref val="3"/>
        </dgm:presLayoutVars>
      </dgm:prSet>
      <dgm:spPr/>
    </dgm:pt>
    <dgm:pt modelId="{90F0A0A0-9BE7-4380-BE30-479BE9CCFFFC}" type="pres">
      <dgm:prSet presAssocID="{42A5549E-8F09-4E2B-80C6-6251C91EC841}" presName="rootConnector1" presStyleLbl="node1" presStyleIdx="0" presStyleCnt="0"/>
      <dgm:spPr/>
    </dgm:pt>
    <dgm:pt modelId="{76051CF7-F39B-4F82-A538-F818CEA8F637}" type="pres">
      <dgm:prSet presAssocID="{42A5549E-8F09-4E2B-80C6-6251C91EC841}" presName="hierChild2" presStyleCnt="0"/>
      <dgm:spPr/>
    </dgm:pt>
    <dgm:pt modelId="{C078C89A-A479-4B57-BF60-06ACDC376E28}" type="pres">
      <dgm:prSet presAssocID="{0E71BB9E-594B-46EA-BBED-197BE70CE6CA}" presName="Name64" presStyleLbl="parChTrans1D2" presStyleIdx="0" presStyleCnt="3"/>
      <dgm:spPr/>
    </dgm:pt>
    <dgm:pt modelId="{2241C8AD-FEAD-4056-82B0-871E4D491142}" type="pres">
      <dgm:prSet presAssocID="{7EF01FE2-DDC0-49DC-85CC-8B6ACD7AAB7C}" presName="hierRoot2" presStyleCnt="0">
        <dgm:presLayoutVars>
          <dgm:hierBranch val="init"/>
        </dgm:presLayoutVars>
      </dgm:prSet>
      <dgm:spPr/>
    </dgm:pt>
    <dgm:pt modelId="{1FB382DB-238A-413A-925C-4B70ADBB1BFA}" type="pres">
      <dgm:prSet presAssocID="{7EF01FE2-DDC0-49DC-85CC-8B6ACD7AAB7C}" presName="rootComposite" presStyleCnt="0"/>
      <dgm:spPr/>
    </dgm:pt>
    <dgm:pt modelId="{99AC3F2E-BB39-4935-80A3-3772B456C6A4}" type="pres">
      <dgm:prSet presAssocID="{7EF01FE2-DDC0-49DC-85CC-8B6ACD7AAB7C}" presName="rootText" presStyleLbl="node2" presStyleIdx="0" presStyleCnt="3">
        <dgm:presLayoutVars>
          <dgm:chPref val="3"/>
        </dgm:presLayoutVars>
      </dgm:prSet>
      <dgm:spPr>
        <a:xfrm>
          <a:off x="5736083" y="1317920"/>
          <a:ext cx="2388691" cy="728550"/>
        </a:xfrm>
        <a:prstGeom prst="rect">
          <a:avLst/>
        </a:prstGeom>
      </dgm:spPr>
    </dgm:pt>
    <dgm:pt modelId="{887E8DE5-CFA0-4B1C-94EF-E197AFE3BFF8}" type="pres">
      <dgm:prSet presAssocID="{7EF01FE2-DDC0-49DC-85CC-8B6ACD7AAB7C}" presName="rootConnector" presStyleLbl="node2" presStyleIdx="0" presStyleCnt="3"/>
      <dgm:spPr/>
    </dgm:pt>
    <dgm:pt modelId="{25F74729-3F48-4377-A478-B8631AE17926}" type="pres">
      <dgm:prSet presAssocID="{7EF01FE2-DDC0-49DC-85CC-8B6ACD7AAB7C}" presName="hierChild4" presStyleCnt="0"/>
      <dgm:spPr/>
    </dgm:pt>
    <dgm:pt modelId="{B58682A2-662E-4F97-BC50-5C9C9F2F8748}" type="pres">
      <dgm:prSet presAssocID="{F03956BD-B884-497D-AB57-C80B425F4DF3}" presName="Name64" presStyleLbl="parChTrans1D3" presStyleIdx="0" presStyleCnt="5"/>
      <dgm:spPr/>
    </dgm:pt>
    <dgm:pt modelId="{E3BD1AFE-5BAB-4DD7-AD27-2B9DE0E83794}" type="pres">
      <dgm:prSet presAssocID="{29EDBA1B-9DB7-4AC8-929B-8091038290CB}" presName="hierRoot2" presStyleCnt="0">
        <dgm:presLayoutVars>
          <dgm:hierBranch val="init"/>
        </dgm:presLayoutVars>
      </dgm:prSet>
      <dgm:spPr/>
    </dgm:pt>
    <dgm:pt modelId="{70BDF660-36FA-4E85-BB5B-BB6FB9C5713D}" type="pres">
      <dgm:prSet presAssocID="{29EDBA1B-9DB7-4AC8-929B-8091038290CB}" presName="rootComposite" presStyleCnt="0"/>
      <dgm:spPr/>
    </dgm:pt>
    <dgm:pt modelId="{FA727DDA-AC4F-4C1C-9AEB-8C5C24DB4383}" type="pres">
      <dgm:prSet presAssocID="{29EDBA1B-9DB7-4AC8-929B-8091038290CB}" presName="rootText" presStyleLbl="node3" presStyleIdx="0" presStyleCnt="5">
        <dgm:presLayoutVars>
          <dgm:chPref val="3"/>
        </dgm:presLayoutVars>
      </dgm:prSet>
      <dgm:spPr/>
    </dgm:pt>
    <dgm:pt modelId="{E869B647-AEFA-4D6E-8C36-1E01FE335448}" type="pres">
      <dgm:prSet presAssocID="{29EDBA1B-9DB7-4AC8-929B-8091038290CB}" presName="rootConnector" presStyleLbl="node3" presStyleIdx="0" presStyleCnt="5"/>
      <dgm:spPr/>
    </dgm:pt>
    <dgm:pt modelId="{9F913B75-66F5-4870-8CD6-5F7B9C56F074}" type="pres">
      <dgm:prSet presAssocID="{29EDBA1B-9DB7-4AC8-929B-8091038290CB}" presName="hierChild4" presStyleCnt="0"/>
      <dgm:spPr/>
    </dgm:pt>
    <dgm:pt modelId="{68102027-F83A-41A8-B969-C083B2739BDE}" type="pres">
      <dgm:prSet presAssocID="{29EDBA1B-9DB7-4AC8-929B-8091038290CB}" presName="hierChild5" presStyleCnt="0"/>
      <dgm:spPr/>
    </dgm:pt>
    <dgm:pt modelId="{FA59050E-34F1-4A3B-BD5B-4FAA6AFDE8A6}" type="pres">
      <dgm:prSet presAssocID="{7EF01FE2-DDC0-49DC-85CC-8B6ACD7AAB7C}" presName="hierChild5" presStyleCnt="0"/>
      <dgm:spPr/>
    </dgm:pt>
    <dgm:pt modelId="{7F130522-5CF3-46F2-84EC-E6321C36B5B4}" type="pres">
      <dgm:prSet presAssocID="{96E57ED8-3178-457D-B5DF-564626FC8A2C}" presName="Name64" presStyleLbl="parChTrans1D2" presStyleIdx="1" presStyleCnt="3"/>
      <dgm:spPr/>
    </dgm:pt>
    <dgm:pt modelId="{597A28EC-A5AA-4570-8757-033A8C9ACE63}" type="pres">
      <dgm:prSet presAssocID="{D93151B5-DBB0-4703-B160-B558FA58D8D3}" presName="hierRoot2" presStyleCnt="0">
        <dgm:presLayoutVars>
          <dgm:hierBranch val="init"/>
        </dgm:presLayoutVars>
      </dgm:prSet>
      <dgm:spPr/>
    </dgm:pt>
    <dgm:pt modelId="{3668C5DF-37C1-4E31-97E8-F43338CA2B9E}" type="pres">
      <dgm:prSet presAssocID="{D93151B5-DBB0-4703-B160-B558FA58D8D3}" presName="rootComposite" presStyleCnt="0"/>
      <dgm:spPr/>
    </dgm:pt>
    <dgm:pt modelId="{4CF5E6DE-FD99-41D4-9463-240DB67E76D9}" type="pres">
      <dgm:prSet presAssocID="{D93151B5-DBB0-4703-B160-B558FA58D8D3}" presName="rootText" presStyleLbl="node2" presStyleIdx="1" presStyleCnt="3">
        <dgm:presLayoutVars>
          <dgm:chPref val="3"/>
        </dgm:presLayoutVars>
      </dgm:prSet>
      <dgm:spPr/>
    </dgm:pt>
    <dgm:pt modelId="{1BC05D25-B55E-49B6-9B1B-5F6AEB3827BB}" type="pres">
      <dgm:prSet presAssocID="{D93151B5-DBB0-4703-B160-B558FA58D8D3}" presName="rootConnector" presStyleLbl="node2" presStyleIdx="1" presStyleCnt="3"/>
      <dgm:spPr/>
    </dgm:pt>
    <dgm:pt modelId="{B6D2EFE1-393B-453F-A8FF-CF98750F21BE}" type="pres">
      <dgm:prSet presAssocID="{D93151B5-DBB0-4703-B160-B558FA58D8D3}" presName="hierChild4" presStyleCnt="0"/>
      <dgm:spPr/>
    </dgm:pt>
    <dgm:pt modelId="{FEC7561F-6F5A-415F-821B-B1FD309F1B57}" type="pres">
      <dgm:prSet presAssocID="{A285D1D9-D974-4CD3-8351-19F95162E5F8}" presName="Name64" presStyleLbl="parChTrans1D3" presStyleIdx="1" presStyleCnt="5"/>
      <dgm:spPr/>
    </dgm:pt>
    <dgm:pt modelId="{C7BB65DC-C6A5-4605-8879-CCD4D903598A}" type="pres">
      <dgm:prSet presAssocID="{57EBE1A5-EFE7-4BC8-AE51-3626B21A082A}" presName="hierRoot2" presStyleCnt="0">
        <dgm:presLayoutVars>
          <dgm:hierBranch val="init"/>
        </dgm:presLayoutVars>
      </dgm:prSet>
      <dgm:spPr/>
    </dgm:pt>
    <dgm:pt modelId="{592E30E8-F4EE-4E35-8CB5-C2F7DA37808A}" type="pres">
      <dgm:prSet presAssocID="{57EBE1A5-EFE7-4BC8-AE51-3626B21A082A}" presName="rootComposite" presStyleCnt="0"/>
      <dgm:spPr/>
    </dgm:pt>
    <dgm:pt modelId="{3CCE6814-EA49-4E30-8E62-A558F44A8BEF}" type="pres">
      <dgm:prSet presAssocID="{57EBE1A5-EFE7-4BC8-AE51-3626B21A082A}" presName="rootText" presStyleLbl="node3" presStyleIdx="1" presStyleCnt="5">
        <dgm:presLayoutVars>
          <dgm:chPref val="3"/>
        </dgm:presLayoutVars>
      </dgm:prSet>
      <dgm:spPr/>
    </dgm:pt>
    <dgm:pt modelId="{1F003AEA-1E62-4F7D-B247-FF392948E18E}" type="pres">
      <dgm:prSet presAssocID="{57EBE1A5-EFE7-4BC8-AE51-3626B21A082A}" presName="rootConnector" presStyleLbl="node3" presStyleIdx="1" presStyleCnt="5"/>
      <dgm:spPr/>
    </dgm:pt>
    <dgm:pt modelId="{0B082972-F473-434C-991A-64BAC418D76B}" type="pres">
      <dgm:prSet presAssocID="{57EBE1A5-EFE7-4BC8-AE51-3626B21A082A}" presName="hierChild4" presStyleCnt="0"/>
      <dgm:spPr/>
    </dgm:pt>
    <dgm:pt modelId="{560C2A93-3B40-4DCB-85D3-C2304E2225E3}" type="pres">
      <dgm:prSet presAssocID="{A7837FF9-E2FD-4E11-A2F2-778A852CBF4D}" presName="Name64" presStyleLbl="parChTrans1D4" presStyleIdx="0" presStyleCnt="2"/>
      <dgm:spPr/>
    </dgm:pt>
    <dgm:pt modelId="{B2D068F4-8206-4E9A-9C46-4434A11803D0}" type="pres">
      <dgm:prSet presAssocID="{90FA9C10-E04B-4C2F-AE21-E26C07BB3657}" presName="hierRoot2" presStyleCnt="0">
        <dgm:presLayoutVars>
          <dgm:hierBranch val="init"/>
        </dgm:presLayoutVars>
      </dgm:prSet>
      <dgm:spPr/>
    </dgm:pt>
    <dgm:pt modelId="{D15FB88D-6259-4B4E-9FD8-30F7252EC457}" type="pres">
      <dgm:prSet presAssocID="{90FA9C10-E04B-4C2F-AE21-E26C07BB3657}" presName="rootComposite" presStyleCnt="0"/>
      <dgm:spPr/>
    </dgm:pt>
    <dgm:pt modelId="{8BE80696-F76B-42E4-972F-D364EA97BAAB}" type="pres">
      <dgm:prSet presAssocID="{90FA9C10-E04B-4C2F-AE21-E26C07BB3657}" presName="rootText" presStyleLbl="node4" presStyleIdx="0" presStyleCnt="2">
        <dgm:presLayoutVars>
          <dgm:chPref val="3"/>
        </dgm:presLayoutVars>
      </dgm:prSet>
      <dgm:spPr/>
    </dgm:pt>
    <dgm:pt modelId="{BED070CC-063B-4944-90FC-6D834EC78BC9}" type="pres">
      <dgm:prSet presAssocID="{90FA9C10-E04B-4C2F-AE21-E26C07BB3657}" presName="rootConnector" presStyleLbl="node4" presStyleIdx="0" presStyleCnt="2"/>
      <dgm:spPr/>
    </dgm:pt>
    <dgm:pt modelId="{E0E69D58-4319-499D-97A1-BF8E5A0F6265}" type="pres">
      <dgm:prSet presAssocID="{90FA9C10-E04B-4C2F-AE21-E26C07BB3657}" presName="hierChild4" presStyleCnt="0"/>
      <dgm:spPr/>
    </dgm:pt>
    <dgm:pt modelId="{EB3A1D87-9BF9-4A0B-96B3-AAEFE7FCA8B3}" type="pres">
      <dgm:prSet presAssocID="{90FA9C10-E04B-4C2F-AE21-E26C07BB3657}" presName="hierChild5" presStyleCnt="0"/>
      <dgm:spPr/>
    </dgm:pt>
    <dgm:pt modelId="{871A08C8-C501-4C4C-AD64-AAE6BF2C4666}" type="pres">
      <dgm:prSet presAssocID="{AD4DC9DC-C32B-43FF-828A-8325168CCFBF}" presName="Name64" presStyleLbl="parChTrans1D4" presStyleIdx="1" presStyleCnt="2"/>
      <dgm:spPr/>
    </dgm:pt>
    <dgm:pt modelId="{BA8F7207-9A5A-419D-8B80-1B4F1B35743F}" type="pres">
      <dgm:prSet presAssocID="{143972D1-B9FB-4A10-A41B-77C707D8223F}" presName="hierRoot2" presStyleCnt="0">
        <dgm:presLayoutVars>
          <dgm:hierBranch val="init"/>
        </dgm:presLayoutVars>
      </dgm:prSet>
      <dgm:spPr/>
    </dgm:pt>
    <dgm:pt modelId="{87A67FD7-C2CF-4283-BFCB-299320246769}" type="pres">
      <dgm:prSet presAssocID="{143972D1-B9FB-4A10-A41B-77C707D8223F}" presName="rootComposite" presStyleCnt="0"/>
      <dgm:spPr/>
    </dgm:pt>
    <dgm:pt modelId="{124B14FD-F6C6-4553-A60A-0DBC1F5EA813}" type="pres">
      <dgm:prSet presAssocID="{143972D1-B9FB-4A10-A41B-77C707D8223F}" presName="rootText" presStyleLbl="node4" presStyleIdx="1" presStyleCnt="2">
        <dgm:presLayoutVars>
          <dgm:chPref val="3"/>
        </dgm:presLayoutVars>
      </dgm:prSet>
      <dgm:spPr/>
    </dgm:pt>
    <dgm:pt modelId="{F6ADC39E-085B-452B-A243-1B6EEAEFABB7}" type="pres">
      <dgm:prSet presAssocID="{143972D1-B9FB-4A10-A41B-77C707D8223F}" presName="rootConnector" presStyleLbl="node4" presStyleIdx="1" presStyleCnt="2"/>
      <dgm:spPr/>
    </dgm:pt>
    <dgm:pt modelId="{D5119149-8E8E-4E3E-A566-0113AB9EDB25}" type="pres">
      <dgm:prSet presAssocID="{143972D1-B9FB-4A10-A41B-77C707D8223F}" presName="hierChild4" presStyleCnt="0"/>
      <dgm:spPr/>
    </dgm:pt>
    <dgm:pt modelId="{191361AC-DDDC-436A-A4BE-FF870E8FBF01}" type="pres">
      <dgm:prSet presAssocID="{143972D1-B9FB-4A10-A41B-77C707D8223F}" presName="hierChild5" presStyleCnt="0"/>
      <dgm:spPr/>
    </dgm:pt>
    <dgm:pt modelId="{524FEA5F-4B04-4143-BB74-A58B2A94CC06}" type="pres">
      <dgm:prSet presAssocID="{57EBE1A5-EFE7-4BC8-AE51-3626B21A082A}" presName="hierChild5" presStyleCnt="0"/>
      <dgm:spPr/>
    </dgm:pt>
    <dgm:pt modelId="{ABAF4990-CAA0-433E-9F29-0F601B56F5B8}" type="pres">
      <dgm:prSet presAssocID="{D93151B5-DBB0-4703-B160-B558FA58D8D3}" presName="hierChild5" presStyleCnt="0"/>
      <dgm:spPr/>
    </dgm:pt>
    <dgm:pt modelId="{7F8EF947-DDEC-4904-B3A9-16CDB2264BC4}" type="pres">
      <dgm:prSet presAssocID="{8D63D800-EA79-4019-8D85-F1C94037A1BF}" presName="Name64" presStyleLbl="parChTrans1D2" presStyleIdx="2" presStyleCnt="3"/>
      <dgm:spPr/>
    </dgm:pt>
    <dgm:pt modelId="{C88D5301-3FED-4F80-A5E8-CF977300F9EE}" type="pres">
      <dgm:prSet presAssocID="{926DE298-FB1E-43D1-B50E-C9AE7FF8945A}" presName="hierRoot2" presStyleCnt="0">
        <dgm:presLayoutVars>
          <dgm:hierBranch val="init"/>
        </dgm:presLayoutVars>
      </dgm:prSet>
      <dgm:spPr/>
    </dgm:pt>
    <dgm:pt modelId="{BD6E11FD-FBCB-4CD5-A240-B916734F98CB}" type="pres">
      <dgm:prSet presAssocID="{926DE298-FB1E-43D1-B50E-C9AE7FF8945A}" presName="rootComposite" presStyleCnt="0"/>
      <dgm:spPr/>
    </dgm:pt>
    <dgm:pt modelId="{250723BA-3BF2-4E48-A33D-89429DB29918}" type="pres">
      <dgm:prSet presAssocID="{926DE298-FB1E-43D1-B50E-C9AE7FF8945A}" presName="rootText" presStyleLbl="node2" presStyleIdx="2" presStyleCnt="3">
        <dgm:presLayoutVars>
          <dgm:chPref val="3"/>
        </dgm:presLayoutVars>
      </dgm:prSet>
      <dgm:spPr>
        <a:xfrm>
          <a:off x="5736083" y="3372195"/>
          <a:ext cx="2388691" cy="728550"/>
        </a:xfrm>
        <a:prstGeom prst="rect">
          <a:avLst/>
        </a:prstGeom>
      </dgm:spPr>
    </dgm:pt>
    <dgm:pt modelId="{43675397-7FE4-485A-9B1A-B8E9C7961839}" type="pres">
      <dgm:prSet presAssocID="{926DE298-FB1E-43D1-B50E-C9AE7FF8945A}" presName="rootConnector" presStyleLbl="node2" presStyleIdx="2" presStyleCnt="3"/>
      <dgm:spPr/>
    </dgm:pt>
    <dgm:pt modelId="{D6A0D219-DD04-49FF-8A40-5C23FF47A619}" type="pres">
      <dgm:prSet presAssocID="{926DE298-FB1E-43D1-B50E-C9AE7FF8945A}" presName="hierChild4" presStyleCnt="0"/>
      <dgm:spPr/>
    </dgm:pt>
    <dgm:pt modelId="{8F7711CE-4F48-4D40-88B3-877836B0124B}" type="pres">
      <dgm:prSet presAssocID="{6577C86E-0EE9-4D70-8962-A85EC2730AAF}" presName="Name64" presStyleLbl="parChTrans1D3" presStyleIdx="2" presStyleCnt="5"/>
      <dgm:spPr/>
    </dgm:pt>
    <dgm:pt modelId="{21EB571A-15B4-42C8-AB95-913900DD90BE}" type="pres">
      <dgm:prSet presAssocID="{6D7D9EE0-4586-4279-8133-8F5CC06E314D}" presName="hierRoot2" presStyleCnt="0">
        <dgm:presLayoutVars>
          <dgm:hierBranch val="init"/>
        </dgm:presLayoutVars>
      </dgm:prSet>
      <dgm:spPr/>
    </dgm:pt>
    <dgm:pt modelId="{F1B87D12-7D6A-4DF4-B6F1-EB0A02D9D5C2}" type="pres">
      <dgm:prSet presAssocID="{6D7D9EE0-4586-4279-8133-8F5CC06E314D}" presName="rootComposite" presStyleCnt="0"/>
      <dgm:spPr/>
    </dgm:pt>
    <dgm:pt modelId="{30BF66DE-7D0C-442C-BEB5-3CB71905DFF6}" type="pres">
      <dgm:prSet presAssocID="{6D7D9EE0-4586-4279-8133-8F5CC06E314D}" presName="rootText" presStyleLbl="node3" presStyleIdx="2" presStyleCnt="5">
        <dgm:presLayoutVars>
          <dgm:chPref val="3"/>
        </dgm:presLayoutVars>
      </dgm:prSet>
      <dgm:spPr/>
    </dgm:pt>
    <dgm:pt modelId="{4C2D4052-499D-451F-812C-CAFF92F90A10}" type="pres">
      <dgm:prSet presAssocID="{6D7D9EE0-4586-4279-8133-8F5CC06E314D}" presName="rootConnector" presStyleLbl="node3" presStyleIdx="2" presStyleCnt="5"/>
      <dgm:spPr/>
    </dgm:pt>
    <dgm:pt modelId="{C0195675-8095-4BA9-BE35-B552DE966599}" type="pres">
      <dgm:prSet presAssocID="{6D7D9EE0-4586-4279-8133-8F5CC06E314D}" presName="hierChild4" presStyleCnt="0"/>
      <dgm:spPr/>
    </dgm:pt>
    <dgm:pt modelId="{874EE9EB-25C7-4C8A-9BF5-3AF2823BA734}" type="pres">
      <dgm:prSet presAssocID="{6D7D9EE0-4586-4279-8133-8F5CC06E314D}" presName="hierChild5" presStyleCnt="0"/>
      <dgm:spPr/>
    </dgm:pt>
    <dgm:pt modelId="{7B9E6FE4-2252-48EF-ADDE-702476BBFA74}" type="pres">
      <dgm:prSet presAssocID="{11BAA2DC-D936-4175-BE38-286C8D035EC1}" presName="Name64" presStyleLbl="parChTrans1D3" presStyleIdx="3" presStyleCnt="5"/>
      <dgm:spPr/>
    </dgm:pt>
    <dgm:pt modelId="{A77D7BB4-2253-4E13-AF85-973D69FF73EE}" type="pres">
      <dgm:prSet presAssocID="{48ADEFDB-CF4C-43B6-A6C0-F7FDCE69C69E}" presName="hierRoot2" presStyleCnt="0">
        <dgm:presLayoutVars>
          <dgm:hierBranch val="init"/>
        </dgm:presLayoutVars>
      </dgm:prSet>
      <dgm:spPr/>
    </dgm:pt>
    <dgm:pt modelId="{3EBB66D4-195B-4431-A2D3-8F45B164585C}" type="pres">
      <dgm:prSet presAssocID="{48ADEFDB-CF4C-43B6-A6C0-F7FDCE69C69E}" presName="rootComposite" presStyleCnt="0"/>
      <dgm:spPr/>
    </dgm:pt>
    <dgm:pt modelId="{A63531AD-46A8-489F-83AC-C1A247BC2857}" type="pres">
      <dgm:prSet presAssocID="{48ADEFDB-CF4C-43B6-A6C0-F7FDCE69C69E}" presName="rootText" presStyleLbl="node3" presStyleIdx="3" presStyleCnt="5">
        <dgm:presLayoutVars>
          <dgm:chPref val="3"/>
        </dgm:presLayoutVars>
      </dgm:prSet>
      <dgm:spPr/>
    </dgm:pt>
    <dgm:pt modelId="{0DD238E6-F5A6-446A-AF20-7DDCE6822A73}" type="pres">
      <dgm:prSet presAssocID="{48ADEFDB-CF4C-43B6-A6C0-F7FDCE69C69E}" presName="rootConnector" presStyleLbl="node3" presStyleIdx="3" presStyleCnt="5"/>
      <dgm:spPr/>
    </dgm:pt>
    <dgm:pt modelId="{3925333E-C218-4661-98E4-F94773DB303D}" type="pres">
      <dgm:prSet presAssocID="{48ADEFDB-CF4C-43B6-A6C0-F7FDCE69C69E}" presName="hierChild4" presStyleCnt="0"/>
      <dgm:spPr/>
    </dgm:pt>
    <dgm:pt modelId="{F798C62D-9618-4A3C-B907-A202CE474240}" type="pres">
      <dgm:prSet presAssocID="{48ADEFDB-CF4C-43B6-A6C0-F7FDCE69C69E}" presName="hierChild5" presStyleCnt="0"/>
      <dgm:spPr/>
    </dgm:pt>
    <dgm:pt modelId="{D37074AF-08A2-4EFA-878E-6165F41C3259}" type="pres">
      <dgm:prSet presAssocID="{E102A2CF-12F2-4861-8059-C6AF8F4D1D32}" presName="Name64" presStyleLbl="parChTrans1D3" presStyleIdx="4" presStyleCnt="5"/>
      <dgm:spPr/>
    </dgm:pt>
    <dgm:pt modelId="{A57B1B1E-D866-4B67-A60B-AC6A21CA7458}" type="pres">
      <dgm:prSet presAssocID="{0488564B-53B4-4165-8551-86853A848C68}" presName="hierRoot2" presStyleCnt="0">
        <dgm:presLayoutVars>
          <dgm:hierBranch val="init"/>
        </dgm:presLayoutVars>
      </dgm:prSet>
      <dgm:spPr/>
    </dgm:pt>
    <dgm:pt modelId="{F8A25CEC-08E6-474A-9590-4D340D57DBFD}" type="pres">
      <dgm:prSet presAssocID="{0488564B-53B4-4165-8551-86853A848C68}" presName="rootComposite" presStyleCnt="0"/>
      <dgm:spPr/>
    </dgm:pt>
    <dgm:pt modelId="{19C710E1-ADFA-428B-80C9-3246B0E2592C}" type="pres">
      <dgm:prSet presAssocID="{0488564B-53B4-4165-8551-86853A848C68}" presName="rootText" presStyleLbl="node3" presStyleIdx="4" presStyleCnt="5">
        <dgm:presLayoutVars>
          <dgm:chPref val="3"/>
        </dgm:presLayoutVars>
      </dgm:prSet>
      <dgm:spPr/>
    </dgm:pt>
    <dgm:pt modelId="{F332DFCE-E52C-45DA-8F7F-49173A7EE5B1}" type="pres">
      <dgm:prSet presAssocID="{0488564B-53B4-4165-8551-86853A848C68}" presName="rootConnector" presStyleLbl="node3" presStyleIdx="4" presStyleCnt="5"/>
      <dgm:spPr/>
    </dgm:pt>
    <dgm:pt modelId="{82C16154-E4E6-4C3D-A025-924776C4ADB8}" type="pres">
      <dgm:prSet presAssocID="{0488564B-53B4-4165-8551-86853A848C68}" presName="hierChild4" presStyleCnt="0"/>
      <dgm:spPr/>
    </dgm:pt>
    <dgm:pt modelId="{3B5650E5-9259-45EB-AFA7-D956907221BE}" type="pres">
      <dgm:prSet presAssocID="{0488564B-53B4-4165-8551-86853A848C68}" presName="hierChild5" presStyleCnt="0"/>
      <dgm:spPr/>
    </dgm:pt>
    <dgm:pt modelId="{DD1671E2-E378-4C99-8DDA-C68AC076D9E6}" type="pres">
      <dgm:prSet presAssocID="{926DE298-FB1E-43D1-B50E-C9AE7FF8945A}" presName="hierChild5" presStyleCnt="0"/>
      <dgm:spPr/>
    </dgm:pt>
    <dgm:pt modelId="{05DA2321-D19C-41D3-AE81-E1FCACA72643}" type="pres">
      <dgm:prSet presAssocID="{42A5549E-8F09-4E2B-80C6-6251C91EC841}" presName="hierChild3" presStyleCnt="0"/>
      <dgm:spPr/>
    </dgm:pt>
  </dgm:ptLst>
  <dgm:cxnLst>
    <dgm:cxn modelId="{1426800F-2F50-46D9-A8E6-AFF47A51A9AE}" type="presOf" srcId="{57EBE1A5-EFE7-4BC8-AE51-3626B21A082A}" destId="{1F003AEA-1E62-4F7D-B247-FF392948E18E}" srcOrd="1" destOrd="0" presId="urn:microsoft.com/office/officeart/2009/3/layout/HorizontalOrganizationChart"/>
    <dgm:cxn modelId="{9B87BE15-2BF0-4A71-B029-A0CAD09B7BE0}" srcId="{D93151B5-DBB0-4703-B160-B558FA58D8D3}" destId="{57EBE1A5-EFE7-4BC8-AE51-3626B21A082A}" srcOrd="0" destOrd="0" parTransId="{A285D1D9-D974-4CD3-8351-19F95162E5F8}" sibTransId="{A99A92AB-CB53-4DAB-802D-73112F5D118A}"/>
    <dgm:cxn modelId="{2042581A-7889-4B2F-8948-15A885557118}" type="presOf" srcId="{926DE298-FB1E-43D1-B50E-C9AE7FF8945A}" destId="{43675397-7FE4-485A-9B1A-B8E9C7961839}" srcOrd="1" destOrd="0" presId="urn:microsoft.com/office/officeart/2009/3/layout/HorizontalOrganizationChart"/>
    <dgm:cxn modelId="{7945AE1A-C70B-4662-82D7-0D94C18F50D0}" type="presOf" srcId="{29EDBA1B-9DB7-4AC8-929B-8091038290CB}" destId="{FA727DDA-AC4F-4C1C-9AEB-8C5C24DB4383}" srcOrd="0" destOrd="0" presId="urn:microsoft.com/office/officeart/2009/3/layout/HorizontalOrganizationChart"/>
    <dgm:cxn modelId="{E989132D-582E-4E53-87DF-0D66B589BF6A}" type="presOf" srcId="{143972D1-B9FB-4A10-A41B-77C707D8223F}" destId="{F6ADC39E-085B-452B-A243-1B6EEAEFABB7}" srcOrd="1" destOrd="0" presId="urn:microsoft.com/office/officeart/2009/3/layout/HorizontalOrganizationChart"/>
    <dgm:cxn modelId="{0C215530-3AEE-4E2B-8689-55228482B2C7}" srcId="{42A5549E-8F09-4E2B-80C6-6251C91EC841}" destId="{7EF01FE2-DDC0-49DC-85CC-8B6ACD7AAB7C}" srcOrd="0" destOrd="0" parTransId="{0E71BB9E-594B-46EA-BBED-197BE70CE6CA}" sibTransId="{32C31978-02D8-413C-9778-ED485F7D9D70}"/>
    <dgm:cxn modelId="{52599F5C-69DA-49EF-AA28-019E01F0F17C}" type="presOf" srcId="{48ADEFDB-CF4C-43B6-A6C0-F7FDCE69C69E}" destId="{0DD238E6-F5A6-446A-AF20-7DDCE6822A73}" srcOrd="1" destOrd="0" presId="urn:microsoft.com/office/officeart/2009/3/layout/HorizontalOrganizationChart"/>
    <dgm:cxn modelId="{E806535D-C433-4FDF-80C6-C343A9BF8819}" srcId="{42A5549E-8F09-4E2B-80C6-6251C91EC841}" destId="{D93151B5-DBB0-4703-B160-B558FA58D8D3}" srcOrd="1" destOrd="0" parTransId="{96E57ED8-3178-457D-B5DF-564626FC8A2C}" sibTransId="{2D2CEDBF-02EA-4932-9B82-13B1B992D1EC}"/>
    <dgm:cxn modelId="{EDD49C5D-FFFB-4C96-8E17-3B66ABF1E191}" type="presOf" srcId="{D93151B5-DBB0-4703-B160-B558FA58D8D3}" destId="{4CF5E6DE-FD99-41D4-9463-240DB67E76D9}" srcOrd="0" destOrd="0" presId="urn:microsoft.com/office/officeart/2009/3/layout/HorizontalOrganizationChart"/>
    <dgm:cxn modelId="{EF146244-D008-4C84-B24C-44D0B0FD766B}" type="presOf" srcId="{A285D1D9-D974-4CD3-8351-19F95162E5F8}" destId="{FEC7561F-6F5A-415F-821B-B1FD309F1B57}" srcOrd="0" destOrd="0" presId="urn:microsoft.com/office/officeart/2009/3/layout/HorizontalOrganizationChart"/>
    <dgm:cxn modelId="{AFB92A45-769D-4905-9C77-BE709405733D}" type="presOf" srcId="{0488564B-53B4-4165-8551-86853A848C68}" destId="{19C710E1-ADFA-428B-80C9-3246B0E2592C}" srcOrd="0" destOrd="0" presId="urn:microsoft.com/office/officeart/2009/3/layout/HorizontalOrganizationChart"/>
    <dgm:cxn modelId="{76D7C947-16B0-4B95-95FB-BBB5D22DBB87}" srcId="{926DE298-FB1E-43D1-B50E-C9AE7FF8945A}" destId="{6D7D9EE0-4586-4279-8133-8F5CC06E314D}" srcOrd="0" destOrd="0" parTransId="{6577C86E-0EE9-4D70-8962-A85EC2730AAF}" sibTransId="{A7253CF2-F797-4EE8-9D73-B17E253AB704}"/>
    <dgm:cxn modelId="{9756FF4B-E0AA-468D-9A1A-9E7D864813FA}" type="presOf" srcId="{AD4DC9DC-C32B-43FF-828A-8325168CCFBF}" destId="{871A08C8-C501-4C4C-AD64-AAE6BF2C4666}" srcOrd="0" destOrd="0" presId="urn:microsoft.com/office/officeart/2009/3/layout/HorizontalOrganizationChart"/>
    <dgm:cxn modelId="{A462226C-AD41-4772-8048-FD4F6A6C6DA4}" type="presOf" srcId="{C08D5D03-7529-43C5-8A14-43F7A944E604}" destId="{EB89AAAF-C48C-4E97-B12D-5858720ABC64}" srcOrd="0" destOrd="0" presId="urn:microsoft.com/office/officeart/2009/3/layout/HorizontalOrganizationChart"/>
    <dgm:cxn modelId="{093B5E4E-6A96-425D-834A-B1E3265CBC45}" type="presOf" srcId="{143972D1-B9FB-4A10-A41B-77C707D8223F}" destId="{124B14FD-F6C6-4553-A60A-0DBC1F5EA813}" srcOrd="0" destOrd="0" presId="urn:microsoft.com/office/officeart/2009/3/layout/HorizontalOrganizationChart"/>
    <dgm:cxn modelId="{FB7DCE52-0AD6-4D47-A5BF-43D2D15653EC}" type="presOf" srcId="{42A5549E-8F09-4E2B-80C6-6251C91EC841}" destId="{02DABB09-882D-4600-B9BB-A9F5B0CFA8A2}" srcOrd="0" destOrd="0" presId="urn:microsoft.com/office/officeart/2009/3/layout/HorizontalOrganizationChart"/>
    <dgm:cxn modelId="{8A637055-5B0C-4B78-AF6C-1CE97E41D4E6}" type="presOf" srcId="{7EF01FE2-DDC0-49DC-85CC-8B6ACD7AAB7C}" destId="{887E8DE5-CFA0-4B1C-94EF-E197AFE3BFF8}" srcOrd="1" destOrd="0" presId="urn:microsoft.com/office/officeart/2009/3/layout/HorizontalOrganizationChart"/>
    <dgm:cxn modelId="{754A4056-FE49-4415-948A-CE65E933DF4B}" type="presOf" srcId="{6D7D9EE0-4586-4279-8133-8F5CC06E314D}" destId="{30BF66DE-7D0C-442C-BEB5-3CB71905DFF6}" srcOrd="0" destOrd="0" presId="urn:microsoft.com/office/officeart/2009/3/layout/HorizontalOrganizationChart"/>
    <dgm:cxn modelId="{F76C6677-6001-4911-9CA1-B93863A5690C}" type="presOf" srcId="{90FA9C10-E04B-4C2F-AE21-E26C07BB3657}" destId="{BED070CC-063B-4944-90FC-6D834EC78BC9}" srcOrd="1" destOrd="0" presId="urn:microsoft.com/office/officeart/2009/3/layout/HorizontalOrganizationChart"/>
    <dgm:cxn modelId="{DF53DF58-79EF-441E-B00E-9D00CCE2D4C1}" type="presOf" srcId="{90FA9C10-E04B-4C2F-AE21-E26C07BB3657}" destId="{8BE80696-F76B-42E4-972F-D364EA97BAAB}" srcOrd="0" destOrd="0" presId="urn:microsoft.com/office/officeart/2009/3/layout/HorizontalOrganizationChart"/>
    <dgm:cxn modelId="{BE99387A-3FE0-4A30-A38A-D3D57FE0EB9D}" srcId="{926DE298-FB1E-43D1-B50E-C9AE7FF8945A}" destId="{0488564B-53B4-4165-8551-86853A848C68}" srcOrd="2" destOrd="0" parTransId="{E102A2CF-12F2-4861-8059-C6AF8F4D1D32}" sibTransId="{04458F99-BBFB-43DE-B5C1-2E7444057003}"/>
    <dgm:cxn modelId="{EC1C6B89-8726-4BDA-8939-0D3CE2BB26E8}" srcId="{7EF01FE2-DDC0-49DC-85CC-8B6ACD7AAB7C}" destId="{29EDBA1B-9DB7-4AC8-929B-8091038290CB}" srcOrd="0" destOrd="0" parTransId="{F03956BD-B884-497D-AB57-C80B425F4DF3}" sibTransId="{D650870B-42AF-43AD-8421-04B90E428F5B}"/>
    <dgm:cxn modelId="{C0A52691-5079-402F-94F6-6C1B2575FF25}" type="presOf" srcId="{E102A2CF-12F2-4861-8059-C6AF8F4D1D32}" destId="{D37074AF-08A2-4EFA-878E-6165F41C3259}" srcOrd="0" destOrd="0" presId="urn:microsoft.com/office/officeart/2009/3/layout/HorizontalOrganizationChart"/>
    <dgm:cxn modelId="{D4CB5691-49AE-4D44-8DF7-5043807DBDBF}" type="presOf" srcId="{6D7D9EE0-4586-4279-8133-8F5CC06E314D}" destId="{4C2D4052-499D-451F-812C-CAFF92F90A10}" srcOrd="1" destOrd="0" presId="urn:microsoft.com/office/officeart/2009/3/layout/HorizontalOrganizationChart"/>
    <dgm:cxn modelId="{A71EA292-136B-4021-826E-0EC064B3B15C}" type="presOf" srcId="{D93151B5-DBB0-4703-B160-B558FA58D8D3}" destId="{1BC05D25-B55E-49B6-9B1B-5F6AEB3827BB}" srcOrd="1" destOrd="0" presId="urn:microsoft.com/office/officeart/2009/3/layout/HorizontalOrganizationChart"/>
    <dgm:cxn modelId="{2AD13293-BE39-4B1F-B160-23E869A165F3}" type="presOf" srcId="{0488564B-53B4-4165-8551-86853A848C68}" destId="{F332DFCE-E52C-45DA-8F7F-49173A7EE5B1}" srcOrd="1" destOrd="0" presId="urn:microsoft.com/office/officeart/2009/3/layout/HorizontalOrganizationChart"/>
    <dgm:cxn modelId="{F6721E95-5FCB-48E2-B5A1-0BE5307B3A1D}" srcId="{57EBE1A5-EFE7-4BC8-AE51-3626B21A082A}" destId="{143972D1-B9FB-4A10-A41B-77C707D8223F}" srcOrd="1" destOrd="0" parTransId="{AD4DC9DC-C32B-43FF-828A-8325168CCFBF}" sibTransId="{5606E26B-BE98-4536-8DEB-372618C74393}"/>
    <dgm:cxn modelId="{4AD66A98-D612-4AF8-84BE-DAF22BA72A5B}" srcId="{57EBE1A5-EFE7-4BC8-AE51-3626B21A082A}" destId="{90FA9C10-E04B-4C2F-AE21-E26C07BB3657}" srcOrd="0" destOrd="0" parTransId="{A7837FF9-E2FD-4E11-A2F2-778A852CBF4D}" sibTransId="{4A0DABF9-C89F-456B-A8B3-8146C67C9674}"/>
    <dgm:cxn modelId="{7C3E48A4-913B-4C8B-B34C-70B98DBC64D1}" type="presOf" srcId="{42A5549E-8F09-4E2B-80C6-6251C91EC841}" destId="{90F0A0A0-9BE7-4380-BE30-479BE9CCFFFC}" srcOrd="1" destOrd="0" presId="urn:microsoft.com/office/officeart/2009/3/layout/HorizontalOrganizationChart"/>
    <dgm:cxn modelId="{FC9413A6-11BC-48B6-B20C-9DED2EEA99B3}" type="presOf" srcId="{7EF01FE2-DDC0-49DC-85CC-8B6ACD7AAB7C}" destId="{99AC3F2E-BB39-4935-80A3-3772B456C6A4}" srcOrd="0" destOrd="0" presId="urn:microsoft.com/office/officeart/2009/3/layout/HorizontalOrganizationChart"/>
    <dgm:cxn modelId="{E6E1C4A9-96C1-4C91-B6D2-B8BC1D47D8B0}" type="presOf" srcId="{0E71BB9E-594B-46EA-BBED-197BE70CE6CA}" destId="{C078C89A-A479-4B57-BF60-06ACDC376E28}" srcOrd="0" destOrd="0" presId="urn:microsoft.com/office/officeart/2009/3/layout/HorizontalOrganizationChart"/>
    <dgm:cxn modelId="{2217D4AA-41FF-406A-A6A5-244F9C587197}" type="presOf" srcId="{A7837FF9-E2FD-4E11-A2F2-778A852CBF4D}" destId="{560C2A93-3B40-4DCB-85D3-C2304E2225E3}" srcOrd="0" destOrd="0" presId="urn:microsoft.com/office/officeart/2009/3/layout/HorizontalOrganizationChart"/>
    <dgm:cxn modelId="{54349BAF-AF96-4185-A620-DDEE817A882C}" srcId="{C08D5D03-7529-43C5-8A14-43F7A944E604}" destId="{42A5549E-8F09-4E2B-80C6-6251C91EC841}" srcOrd="0" destOrd="0" parTransId="{2D628C13-330C-42F2-8F1B-AC758E8331DE}" sibTransId="{C70C11C7-6815-4DC4-A83E-7DAB5AE815DF}"/>
    <dgm:cxn modelId="{707213B7-C432-4FA1-9E16-B53117818B50}" type="presOf" srcId="{48ADEFDB-CF4C-43B6-A6C0-F7FDCE69C69E}" destId="{A63531AD-46A8-489F-83AC-C1A247BC2857}" srcOrd="0" destOrd="0" presId="urn:microsoft.com/office/officeart/2009/3/layout/HorizontalOrganizationChart"/>
    <dgm:cxn modelId="{17AFAEBD-A89E-418D-B72E-742F9C189621}" type="presOf" srcId="{57EBE1A5-EFE7-4BC8-AE51-3626B21A082A}" destId="{3CCE6814-EA49-4E30-8E62-A558F44A8BEF}" srcOrd="0" destOrd="0" presId="urn:microsoft.com/office/officeart/2009/3/layout/HorizontalOrganizationChart"/>
    <dgm:cxn modelId="{8B1A48CB-672E-40D3-B5F0-22836627FDD8}" type="presOf" srcId="{96E57ED8-3178-457D-B5DF-564626FC8A2C}" destId="{7F130522-5CF3-46F2-84EC-E6321C36B5B4}" srcOrd="0" destOrd="0" presId="urn:microsoft.com/office/officeart/2009/3/layout/HorizontalOrganizationChart"/>
    <dgm:cxn modelId="{1A2C58D2-D6CA-433D-A4A5-29D1704B2E7B}" type="presOf" srcId="{11BAA2DC-D936-4175-BE38-286C8D035EC1}" destId="{7B9E6FE4-2252-48EF-ADDE-702476BBFA74}" srcOrd="0" destOrd="0" presId="urn:microsoft.com/office/officeart/2009/3/layout/HorizontalOrganizationChart"/>
    <dgm:cxn modelId="{A9D73BD5-C8AD-4A27-8071-31A3E7D80674}" type="presOf" srcId="{6577C86E-0EE9-4D70-8962-A85EC2730AAF}" destId="{8F7711CE-4F48-4D40-88B3-877836B0124B}" srcOrd="0" destOrd="0" presId="urn:microsoft.com/office/officeart/2009/3/layout/HorizontalOrganizationChart"/>
    <dgm:cxn modelId="{427891E2-7B7B-4E04-9AF4-06916250960B}" srcId="{42A5549E-8F09-4E2B-80C6-6251C91EC841}" destId="{926DE298-FB1E-43D1-B50E-C9AE7FF8945A}" srcOrd="2" destOrd="0" parTransId="{8D63D800-EA79-4019-8D85-F1C94037A1BF}" sibTransId="{B7ED089B-408F-4737-8E7C-ACF26F60C323}"/>
    <dgm:cxn modelId="{69FA41E5-B6C2-4783-B1CC-F9C926A1EB71}" type="presOf" srcId="{926DE298-FB1E-43D1-B50E-C9AE7FF8945A}" destId="{250723BA-3BF2-4E48-A33D-89429DB29918}" srcOrd="0" destOrd="0" presId="urn:microsoft.com/office/officeart/2009/3/layout/HorizontalOrganizationChart"/>
    <dgm:cxn modelId="{A56FB7E7-7670-438E-9AEB-4440393C7656}" srcId="{926DE298-FB1E-43D1-B50E-C9AE7FF8945A}" destId="{48ADEFDB-CF4C-43B6-A6C0-F7FDCE69C69E}" srcOrd="1" destOrd="0" parTransId="{11BAA2DC-D936-4175-BE38-286C8D035EC1}" sibTransId="{675BAB04-FDA6-4EDF-B474-557CB1E24F25}"/>
    <dgm:cxn modelId="{D0C5F4E9-E0AC-499A-8890-5651BF8D4D86}" type="presOf" srcId="{F03956BD-B884-497D-AB57-C80B425F4DF3}" destId="{B58682A2-662E-4F97-BC50-5C9C9F2F8748}" srcOrd="0" destOrd="0" presId="urn:microsoft.com/office/officeart/2009/3/layout/HorizontalOrganizationChart"/>
    <dgm:cxn modelId="{74EB76EA-1400-474B-80D8-F881325F12E7}" type="presOf" srcId="{29EDBA1B-9DB7-4AC8-929B-8091038290CB}" destId="{E869B647-AEFA-4D6E-8C36-1E01FE335448}" srcOrd="1" destOrd="0" presId="urn:microsoft.com/office/officeart/2009/3/layout/HorizontalOrganizationChart"/>
    <dgm:cxn modelId="{6C5EF8EC-B346-404C-A607-3EED1E3DC733}" type="presOf" srcId="{8D63D800-EA79-4019-8D85-F1C94037A1BF}" destId="{7F8EF947-DDEC-4904-B3A9-16CDB2264BC4}" srcOrd="0" destOrd="0" presId="urn:microsoft.com/office/officeart/2009/3/layout/HorizontalOrganizationChart"/>
    <dgm:cxn modelId="{FD1CF7D0-C75F-4BD0-BDC6-F520547972EC}" type="presParOf" srcId="{EB89AAAF-C48C-4E97-B12D-5858720ABC64}" destId="{84FCBED1-1A86-41C0-9C57-49CFA54779DB}" srcOrd="0" destOrd="0" presId="urn:microsoft.com/office/officeart/2009/3/layout/HorizontalOrganizationChart"/>
    <dgm:cxn modelId="{F389ED79-4CF9-465B-A16F-79AAD6D24643}" type="presParOf" srcId="{84FCBED1-1A86-41C0-9C57-49CFA54779DB}" destId="{0DC089CA-27A0-44EC-A4A9-5E116CCD236D}" srcOrd="0" destOrd="0" presId="urn:microsoft.com/office/officeart/2009/3/layout/HorizontalOrganizationChart"/>
    <dgm:cxn modelId="{81451149-C5B6-45D9-8068-5FD6B26A53A6}" type="presParOf" srcId="{0DC089CA-27A0-44EC-A4A9-5E116CCD236D}" destId="{02DABB09-882D-4600-B9BB-A9F5B0CFA8A2}" srcOrd="0" destOrd="0" presId="urn:microsoft.com/office/officeart/2009/3/layout/HorizontalOrganizationChart"/>
    <dgm:cxn modelId="{65A3C7EA-B5C2-453C-8387-5F08782B8ED1}" type="presParOf" srcId="{0DC089CA-27A0-44EC-A4A9-5E116CCD236D}" destId="{90F0A0A0-9BE7-4380-BE30-479BE9CCFFFC}" srcOrd="1" destOrd="0" presId="urn:microsoft.com/office/officeart/2009/3/layout/HorizontalOrganizationChart"/>
    <dgm:cxn modelId="{461C0AB7-D8B3-4355-9B88-370619C5126A}" type="presParOf" srcId="{84FCBED1-1A86-41C0-9C57-49CFA54779DB}" destId="{76051CF7-F39B-4F82-A538-F818CEA8F637}" srcOrd="1" destOrd="0" presId="urn:microsoft.com/office/officeart/2009/3/layout/HorizontalOrganizationChart"/>
    <dgm:cxn modelId="{142EC71B-FE86-40EC-8080-2CB10114C9E8}" type="presParOf" srcId="{76051CF7-F39B-4F82-A538-F818CEA8F637}" destId="{C078C89A-A479-4B57-BF60-06ACDC376E28}" srcOrd="0" destOrd="0" presId="urn:microsoft.com/office/officeart/2009/3/layout/HorizontalOrganizationChart"/>
    <dgm:cxn modelId="{1EB751A8-F3E1-468E-B1AB-FE9130912229}" type="presParOf" srcId="{76051CF7-F39B-4F82-A538-F818CEA8F637}" destId="{2241C8AD-FEAD-4056-82B0-871E4D491142}" srcOrd="1" destOrd="0" presId="urn:microsoft.com/office/officeart/2009/3/layout/HorizontalOrganizationChart"/>
    <dgm:cxn modelId="{177A5B7F-5B60-4513-8FA1-036380195DC8}" type="presParOf" srcId="{2241C8AD-FEAD-4056-82B0-871E4D491142}" destId="{1FB382DB-238A-413A-925C-4B70ADBB1BFA}" srcOrd="0" destOrd="0" presId="urn:microsoft.com/office/officeart/2009/3/layout/HorizontalOrganizationChart"/>
    <dgm:cxn modelId="{A0A7BDF9-ED73-4A91-8E5F-ADA2DC8DA704}" type="presParOf" srcId="{1FB382DB-238A-413A-925C-4B70ADBB1BFA}" destId="{99AC3F2E-BB39-4935-80A3-3772B456C6A4}" srcOrd="0" destOrd="0" presId="urn:microsoft.com/office/officeart/2009/3/layout/HorizontalOrganizationChart"/>
    <dgm:cxn modelId="{B026C718-2A94-4A52-B211-5A3D7D8DCF97}" type="presParOf" srcId="{1FB382DB-238A-413A-925C-4B70ADBB1BFA}" destId="{887E8DE5-CFA0-4B1C-94EF-E197AFE3BFF8}" srcOrd="1" destOrd="0" presId="urn:microsoft.com/office/officeart/2009/3/layout/HorizontalOrganizationChart"/>
    <dgm:cxn modelId="{13ED8F55-EB1E-4488-BBA1-A1156C7D9030}" type="presParOf" srcId="{2241C8AD-FEAD-4056-82B0-871E4D491142}" destId="{25F74729-3F48-4377-A478-B8631AE17926}" srcOrd="1" destOrd="0" presId="urn:microsoft.com/office/officeart/2009/3/layout/HorizontalOrganizationChart"/>
    <dgm:cxn modelId="{5129398A-8FB0-484E-BE6E-8AB81E7AEE56}" type="presParOf" srcId="{25F74729-3F48-4377-A478-B8631AE17926}" destId="{B58682A2-662E-4F97-BC50-5C9C9F2F8748}" srcOrd="0" destOrd="0" presId="urn:microsoft.com/office/officeart/2009/3/layout/HorizontalOrganizationChart"/>
    <dgm:cxn modelId="{14AD930E-D924-427F-A5B6-488DC928956C}" type="presParOf" srcId="{25F74729-3F48-4377-A478-B8631AE17926}" destId="{E3BD1AFE-5BAB-4DD7-AD27-2B9DE0E83794}" srcOrd="1" destOrd="0" presId="urn:microsoft.com/office/officeart/2009/3/layout/HorizontalOrganizationChart"/>
    <dgm:cxn modelId="{9A7D4CBF-A8AA-43DC-970F-0F46777A1FE7}" type="presParOf" srcId="{E3BD1AFE-5BAB-4DD7-AD27-2B9DE0E83794}" destId="{70BDF660-36FA-4E85-BB5B-BB6FB9C5713D}" srcOrd="0" destOrd="0" presId="urn:microsoft.com/office/officeart/2009/3/layout/HorizontalOrganizationChart"/>
    <dgm:cxn modelId="{2DA1AEDA-671E-43DF-BF40-3A9FCD21374A}" type="presParOf" srcId="{70BDF660-36FA-4E85-BB5B-BB6FB9C5713D}" destId="{FA727DDA-AC4F-4C1C-9AEB-8C5C24DB4383}" srcOrd="0" destOrd="0" presId="urn:microsoft.com/office/officeart/2009/3/layout/HorizontalOrganizationChart"/>
    <dgm:cxn modelId="{666B9FE5-824A-4021-AA57-33064BEB1A6B}" type="presParOf" srcId="{70BDF660-36FA-4E85-BB5B-BB6FB9C5713D}" destId="{E869B647-AEFA-4D6E-8C36-1E01FE335448}" srcOrd="1" destOrd="0" presId="urn:microsoft.com/office/officeart/2009/3/layout/HorizontalOrganizationChart"/>
    <dgm:cxn modelId="{F775148A-A248-45D8-955A-61324AC814AC}" type="presParOf" srcId="{E3BD1AFE-5BAB-4DD7-AD27-2B9DE0E83794}" destId="{9F913B75-66F5-4870-8CD6-5F7B9C56F074}" srcOrd="1" destOrd="0" presId="urn:microsoft.com/office/officeart/2009/3/layout/HorizontalOrganizationChart"/>
    <dgm:cxn modelId="{BA25BA6D-228F-40B4-9C89-5CC18E27F1BB}" type="presParOf" srcId="{E3BD1AFE-5BAB-4DD7-AD27-2B9DE0E83794}" destId="{68102027-F83A-41A8-B969-C083B2739BDE}" srcOrd="2" destOrd="0" presId="urn:microsoft.com/office/officeart/2009/3/layout/HorizontalOrganizationChart"/>
    <dgm:cxn modelId="{F0070DC7-2748-4C5D-BE85-48F70331E71D}" type="presParOf" srcId="{2241C8AD-FEAD-4056-82B0-871E4D491142}" destId="{FA59050E-34F1-4A3B-BD5B-4FAA6AFDE8A6}" srcOrd="2" destOrd="0" presId="urn:microsoft.com/office/officeart/2009/3/layout/HorizontalOrganizationChart"/>
    <dgm:cxn modelId="{EEEA3D5F-21B9-4461-BB88-84EBD225D83C}" type="presParOf" srcId="{76051CF7-F39B-4F82-A538-F818CEA8F637}" destId="{7F130522-5CF3-46F2-84EC-E6321C36B5B4}" srcOrd="2" destOrd="0" presId="urn:microsoft.com/office/officeart/2009/3/layout/HorizontalOrganizationChart"/>
    <dgm:cxn modelId="{37879FB5-D9FD-4015-BC39-4D65C8815838}" type="presParOf" srcId="{76051CF7-F39B-4F82-A538-F818CEA8F637}" destId="{597A28EC-A5AA-4570-8757-033A8C9ACE63}" srcOrd="3" destOrd="0" presId="urn:microsoft.com/office/officeart/2009/3/layout/HorizontalOrganizationChart"/>
    <dgm:cxn modelId="{F662A064-139A-4B97-B256-06802D4F13C2}" type="presParOf" srcId="{597A28EC-A5AA-4570-8757-033A8C9ACE63}" destId="{3668C5DF-37C1-4E31-97E8-F43338CA2B9E}" srcOrd="0" destOrd="0" presId="urn:microsoft.com/office/officeart/2009/3/layout/HorizontalOrganizationChart"/>
    <dgm:cxn modelId="{5648AA97-0B56-4FD5-92BD-804B24E1B300}" type="presParOf" srcId="{3668C5DF-37C1-4E31-97E8-F43338CA2B9E}" destId="{4CF5E6DE-FD99-41D4-9463-240DB67E76D9}" srcOrd="0" destOrd="0" presId="urn:microsoft.com/office/officeart/2009/3/layout/HorizontalOrganizationChart"/>
    <dgm:cxn modelId="{ADC4DA55-FEF2-4AE8-854D-18AEC789C451}" type="presParOf" srcId="{3668C5DF-37C1-4E31-97E8-F43338CA2B9E}" destId="{1BC05D25-B55E-49B6-9B1B-5F6AEB3827BB}" srcOrd="1" destOrd="0" presId="urn:microsoft.com/office/officeart/2009/3/layout/HorizontalOrganizationChart"/>
    <dgm:cxn modelId="{C9412085-0506-4BF7-AC68-6026B02EFA33}" type="presParOf" srcId="{597A28EC-A5AA-4570-8757-033A8C9ACE63}" destId="{B6D2EFE1-393B-453F-A8FF-CF98750F21BE}" srcOrd="1" destOrd="0" presId="urn:microsoft.com/office/officeart/2009/3/layout/HorizontalOrganizationChart"/>
    <dgm:cxn modelId="{4F227A50-4FCC-4DBF-9208-F16435E84530}" type="presParOf" srcId="{B6D2EFE1-393B-453F-A8FF-CF98750F21BE}" destId="{FEC7561F-6F5A-415F-821B-B1FD309F1B57}" srcOrd="0" destOrd="0" presId="urn:microsoft.com/office/officeart/2009/3/layout/HorizontalOrganizationChart"/>
    <dgm:cxn modelId="{7ABF9158-12D5-4C82-930B-D22B0287DCCB}" type="presParOf" srcId="{B6D2EFE1-393B-453F-A8FF-CF98750F21BE}" destId="{C7BB65DC-C6A5-4605-8879-CCD4D903598A}" srcOrd="1" destOrd="0" presId="urn:microsoft.com/office/officeart/2009/3/layout/HorizontalOrganizationChart"/>
    <dgm:cxn modelId="{BFD984E4-6074-4150-A983-90573B2C9061}" type="presParOf" srcId="{C7BB65DC-C6A5-4605-8879-CCD4D903598A}" destId="{592E30E8-F4EE-4E35-8CB5-C2F7DA37808A}" srcOrd="0" destOrd="0" presId="urn:microsoft.com/office/officeart/2009/3/layout/HorizontalOrganizationChart"/>
    <dgm:cxn modelId="{091B0ACB-EB26-4777-9352-36F967671E01}" type="presParOf" srcId="{592E30E8-F4EE-4E35-8CB5-C2F7DA37808A}" destId="{3CCE6814-EA49-4E30-8E62-A558F44A8BEF}" srcOrd="0" destOrd="0" presId="urn:microsoft.com/office/officeart/2009/3/layout/HorizontalOrganizationChart"/>
    <dgm:cxn modelId="{15448D49-5C9B-4125-A733-D84E75B7D560}" type="presParOf" srcId="{592E30E8-F4EE-4E35-8CB5-C2F7DA37808A}" destId="{1F003AEA-1E62-4F7D-B247-FF392948E18E}" srcOrd="1" destOrd="0" presId="urn:microsoft.com/office/officeart/2009/3/layout/HorizontalOrganizationChart"/>
    <dgm:cxn modelId="{F4904E67-044D-4304-8FC1-846F5C533CDB}" type="presParOf" srcId="{C7BB65DC-C6A5-4605-8879-CCD4D903598A}" destId="{0B082972-F473-434C-991A-64BAC418D76B}" srcOrd="1" destOrd="0" presId="urn:microsoft.com/office/officeart/2009/3/layout/HorizontalOrganizationChart"/>
    <dgm:cxn modelId="{BA835FEF-47CC-4074-BCB9-7D7681F217BA}" type="presParOf" srcId="{0B082972-F473-434C-991A-64BAC418D76B}" destId="{560C2A93-3B40-4DCB-85D3-C2304E2225E3}" srcOrd="0" destOrd="0" presId="urn:microsoft.com/office/officeart/2009/3/layout/HorizontalOrganizationChart"/>
    <dgm:cxn modelId="{69A43BE0-6ABF-4AD0-8AD3-5450FFD0B7B0}" type="presParOf" srcId="{0B082972-F473-434C-991A-64BAC418D76B}" destId="{B2D068F4-8206-4E9A-9C46-4434A11803D0}" srcOrd="1" destOrd="0" presId="urn:microsoft.com/office/officeart/2009/3/layout/HorizontalOrganizationChart"/>
    <dgm:cxn modelId="{6EAF8168-C55C-419E-A198-4BCF0213B5E9}" type="presParOf" srcId="{B2D068F4-8206-4E9A-9C46-4434A11803D0}" destId="{D15FB88D-6259-4B4E-9FD8-30F7252EC457}" srcOrd="0" destOrd="0" presId="urn:microsoft.com/office/officeart/2009/3/layout/HorizontalOrganizationChart"/>
    <dgm:cxn modelId="{26E8E603-497D-4B76-A55C-2F198187F541}" type="presParOf" srcId="{D15FB88D-6259-4B4E-9FD8-30F7252EC457}" destId="{8BE80696-F76B-42E4-972F-D364EA97BAAB}" srcOrd="0" destOrd="0" presId="urn:microsoft.com/office/officeart/2009/3/layout/HorizontalOrganizationChart"/>
    <dgm:cxn modelId="{7F67ED49-56E1-4BC3-9EEE-1FF09861E0DD}" type="presParOf" srcId="{D15FB88D-6259-4B4E-9FD8-30F7252EC457}" destId="{BED070CC-063B-4944-90FC-6D834EC78BC9}" srcOrd="1" destOrd="0" presId="urn:microsoft.com/office/officeart/2009/3/layout/HorizontalOrganizationChart"/>
    <dgm:cxn modelId="{ABE1F2E9-CA20-4801-A9CE-C3A2F42334FC}" type="presParOf" srcId="{B2D068F4-8206-4E9A-9C46-4434A11803D0}" destId="{E0E69D58-4319-499D-97A1-BF8E5A0F6265}" srcOrd="1" destOrd="0" presId="urn:microsoft.com/office/officeart/2009/3/layout/HorizontalOrganizationChart"/>
    <dgm:cxn modelId="{B5B2F223-5B68-4704-A647-DB1C112549CB}" type="presParOf" srcId="{B2D068F4-8206-4E9A-9C46-4434A11803D0}" destId="{EB3A1D87-9BF9-4A0B-96B3-AAEFE7FCA8B3}" srcOrd="2" destOrd="0" presId="urn:microsoft.com/office/officeart/2009/3/layout/HorizontalOrganizationChart"/>
    <dgm:cxn modelId="{960C7B30-E6C0-4D24-A23C-DDEC182213D1}" type="presParOf" srcId="{0B082972-F473-434C-991A-64BAC418D76B}" destId="{871A08C8-C501-4C4C-AD64-AAE6BF2C4666}" srcOrd="2" destOrd="0" presId="urn:microsoft.com/office/officeart/2009/3/layout/HorizontalOrganizationChart"/>
    <dgm:cxn modelId="{3E2D73C3-1FA9-49E9-B670-A01F242B1415}" type="presParOf" srcId="{0B082972-F473-434C-991A-64BAC418D76B}" destId="{BA8F7207-9A5A-419D-8B80-1B4F1B35743F}" srcOrd="3" destOrd="0" presId="urn:microsoft.com/office/officeart/2009/3/layout/HorizontalOrganizationChart"/>
    <dgm:cxn modelId="{81950D1F-DD67-4559-807A-208AEDFF0E49}" type="presParOf" srcId="{BA8F7207-9A5A-419D-8B80-1B4F1B35743F}" destId="{87A67FD7-C2CF-4283-BFCB-299320246769}" srcOrd="0" destOrd="0" presId="urn:microsoft.com/office/officeart/2009/3/layout/HorizontalOrganizationChart"/>
    <dgm:cxn modelId="{C45A5E7B-E4D7-4B82-8C3E-80C5B2465598}" type="presParOf" srcId="{87A67FD7-C2CF-4283-BFCB-299320246769}" destId="{124B14FD-F6C6-4553-A60A-0DBC1F5EA813}" srcOrd="0" destOrd="0" presId="urn:microsoft.com/office/officeart/2009/3/layout/HorizontalOrganizationChart"/>
    <dgm:cxn modelId="{3B60428F-5AF9-49A8-BEC6-B1D68A6E0DF0}" type="presParOf" srcId="{87A67FD7-C2CF-4283-BFCB-299320246769}" destId="{F6ADC39E-085B-452B-A243-1B6EEAEFABB7}" srcOrd="1" destOrd="0" presId="urn:microsoft.com/office/officeart/2009/3/layout/HorizontalOrganizationChart"/>
    <dgm:cxn modelId="{258A13A6-2912-40C0-B002-BE3D01576102}" type="presParOf" srcId="{BA8F7207-9A5A-419D-8B80-1B4F1B35743F}" destId="{D5119149-8E8E-4E3E-A566-0113AB9EDB25}" srcOrd="1" destOrd="0" presId="urn:microsoft.com/office/officeart/2009/3/layout/HorizontalOrganizationChart"/>
    <dgm:cxn modelId="{69045E4D-C9A9-4EAE-9948-7A5D05DA8134}" type="presParOf" srcId="{BA8F7207-9A5A-419D-8B80-1B4F1B35743F}" destId="{191361AC-DDDC-436A-A4BE-FF870E8FBF01}" srcOrd="2" destOrd="0" presId="urn:microsoft.com/office/officeart/2009/3/layout/HorizontalOrganizationChart"/>
    <dgm:cxn modelId="{A15BE460-46B7-472C-A031-378451613120}" type="presParOf" srcId="{C7BB65DC-C6A5-4605-8879-CCD4D903598A}" destId="{524FEA5F-4B04-4143-BB74-A58B2A94CC06}" srcOrd="2" destOrd="0" presId="urn:microsoft.com/office/officeart/2009/3/layout/HorizontalOrganizationChart"/>
    <dgm:cxn modelId="{C176A5B1-EA4B-499F-9598-C57B23491BD3}" type="presParOf" srcId="{597A28EC-A5AA-4570-8757-033A8C9ACE63}" destId="{ABAF4990-CAA0-433E-9F29-0F601B56F5B8}" srcOrd="2" destOrd="0" presId="urn:microsoft.com/office/officeart/2009/3/layout/HorizontalOrganizationChart"/>
    <dgm:cxn modelId="{60904BAA-4C61-4DF3-8473-5146F32002F6}" type="presParOf" srcId="{76051CF7-F39B-4F82-A538-F818CEA8F637}" destId="{7F8EF947-DDEC-4904-B3A9-16CDB2264BC4}" srcOrd="4" destOrd="0" presId="urn:microsoft.com/office/officeart/2009/3/layout/HorizontalOrganizationChart"/>
    <dgm:cxn modelId="{2F9AA726-C177-4A5D-807D-92015D334EDF}" type="presParOf" srcId="{76051CF7-F39B-4F82-A538-F818CEA8F637}" destId="{C88D5301-3FED-4F80-A5E8-CF977300F9EE}" srcOrd="5" destOrd="0" presId="urn:microsoft.com/office/officeart/2009/3/layout/HorizontalOrganizationChart"/>
    <dgm:cxn modelId="{FD810293-FC32-4467-9EB6-1998B4AF33D5}" type="presParOf" srcId="{C88D5301-3FED-4F80-A5E8-CF977300F9EE}" destId="{BD6E11FD-FBCB-4CD5-A240-B916734F98CB}" srcOrd="0" destOrd="0" presId="urn:microsoft.com/office/officeart/2009/3/layout/HorizontalOrganizationChart"/>
    <dgm:cxn modelId="{34FA79DA-E0F8-40B2-B49F-C111301D180B}" type="presParOf" srcId="{BD6E11FD-FBCB-4CD5-A240-B916734F98CB}" destId="{250723BA-3BF2-4E48-A33D-89429DB29918}" srcOrd="0" destOrd="0" presId="urn:microsoft.com/office/officeart/2009/3/layout/HorizontalOrganizationChart"/>
    <dgm:cxn modelId="{F0398A8D-AFB0-410A-9745-010C31B93F44}" type="presParOf" srcId="{BD6E11FD-FBCB-4CD5-A240-B916734F98CB}" destId="{43675397-7FE4-485A-9B1A-B8E9C7961839}" srcOrd="1" destOrd="0" presId="urn:microsoft.com/office/officeart/2009/3/layout/HorizontalOrganizationChart"/>
    <dgm:cxn modelId="{F276F20F-2F7B-491D-A020-D4547F900435}" type="presParOf" srcId="{C88D5301-3FED-4F80-A5E8-CF977300F9EE}" destId="{D6A0D219-DD04-49FF-8A40-5C23FF47A619}" srcOrd="1" destOrd="0" presId="urn:microsoft.com/office/officeart/2009/3/layout/HorizontalOrganizationChart"/>
    <dgm:cxn modelId="{8088C671-5332-46E4-8291-E11373A1023B}" type="presParOf" srcId="{D6A0D219-DD04-49FF-8A40-5C23FF47A619}" destId="{8F7711CE-4F48-4D40-88B3-877836B0124B}" srcOrd="0" destOrd="0" presId="urn:microsoft.com/office/officeart/2009/3/layout/HorizontalOrganizationChart"/>
    <dgm:cxn modelId="{8EE17AB7-F2F9-4DFD-9D19-3F8984A1898B}" type="presParOf" srcId="{D6A0D219-DD04-49FF-8A40-5C23FF47A619}" destId="{21EB571A-15B4-42C8-AB95-913900DD90BE}" srcOrd="1" destOrd="0" presId="urn:microsoft.com/office/officeart/2009/3/layout/HorizontalOrganizationChart"/>
    <dgm:cxn modelId="{065EF425-B529-4FC1-9B0E-AA29250293DF}" type="presParOf" srcId="{21EB571A-15B4-42C8-AB95-913900DD90BE}" destId="{F1B87D12-7D6A-4DF4-B6F1-EB0A02D9D5C2}" srcOrd="0" destOrd="0" presId="urn:microsoft.com/office/officeart/2009/3/layout/HorizontalOrganizationChart"/>
    <dgm:cxn modelId="{FB68B590-EC35-4DB6-8D29-BAC8D726F37A}" type="presParOf" srcId="{F1B87D12-7D6A-4DF4-B6F1-EB0A02D9D5C2}" destId="{30BF66DE-7D0C-442C-BEB5-3CB71905DFF6}" srcOrd="0" destOrd="0" presId="urn:microsoft.com/office/officeart/2009/3/layout/HorizontalOrganizationChart"/>
    <dgm:cxn modelId="{290F6E49-E41A-404E-A5D5-DBA7F399FEF3}" type="presParOf" srcId="{F1B87D12-7D6A-4DF4-B6F1-EB0A02D9D5C2}" destId="{4C2D4052-499D-451F-812C-CAFF92F90A10}" srcOrd="1" destOrd="0" presId="urn:microsoft.com/office/officeart/2009/3/layout/HorizontalOrganizationChart"/>
    <dgm:cxn modelId="{1AD29E25-FC8D-4849-AA20-9B24B7C6A0FC}" type="presParOf" srcId="{21EB571A-15B4-42C8-AB95-913900DD90BE}" destId="{C0195675-8095-4BA9-BE35-B552DE966599}" srcOrd="1" destOrd="0" presId="urn:microsoft.com/office/officeart/2009/3/layout/HorizontalOrganizationChart"/>
    <dgm:cxn modelId="{804F3F6C-28FB-49EF-8DF4-6A41C19BD708}" type="presParOf" srcId="{21EB571A-15B4-42C8-AB95-913900DD90BE}" destId="{874EE9EB-25C7-4C8A-9BF5-3AF2823BA734}" srcOrd="2" destOrd="0" presId="urn:microsoft.com/office/officeart/2009/3/layout/HorizontalOrganizationChart"/>
    <dgm:cxn modelId="{AA7D55B3-115C-4655-B899-E231EE7C6327}" type="presParOf" srcId="{D6A0D219-DD04-49FF-8A40-5C23FF47A619}" destId="{7B9E6FE4-2252-48EF-ADDE-702476BBFA74}" srcOrd="2" destOrd="0" presId="urn:microsoft.com/office/officeart/2009/3/layout/HorizontalOrganizationChart"/>
    <dgm:cxn modelId="{3EB269C8-AD54-44AD-A945-F8FEA48C8362}" type="presParOf" srcId="{D6A0D219-DD04-49FF-8A40-5C23FF47A619}" destId="{A77D7BB4-2253-4E13-AF85-973D69FF73EE}" srcOrd="3" destOrd="0" presId="urn:microsoft.com/office/officeart/2009/3/layout/HorizontalOrganizationChart"/>
    <dgm:cxn modelId="{1883FCF2-9332-4DF0-82F9-EF8046840AA0}" type="presParOf" srcId="{A77D7BB4-2253-4E13-AF85-973D69FF73EE}" destId="{3EBB66D4-195B-4431-A2D3-8F45B164585C}" srcOrd="0" destOrd="0" presId="urn:microsoft.com/office/officeart/2009/3/layout/HorizontalOrganizationChart"/>
    <dgm:cxn modelId="{BDD4291F-01BC-4BA0-BB3B-0A8A74FBCC5A}" type="presParOf" srcId="{3EBB66D4-195B-4431-A2D3-8F45B164585C}" destId="{A63531AD-46A8-489F-83AC-C1A247BC2857}" srcOrd="0" destOrd="0" presId="urn:microsoft.com/office/officeart/2009/3/layout/HorizontalOrganizationChart"/>
    <dgm:cxn modelId="{A591F2D2-2728-43A0-812D-BCC5E4AF63C9}" type="presParOf" srcId="{3EBB66D4-195B-4431-A2D3-8F45B164585C}" destId="{0DD238E6-F5A6-446A-AF20-7DDCE6822A73}" srcOrd="1" destOrd="0" presId="urn:microsoft.com/office/officeart/2009/3/layout/HorizontalOrganizationChart"/>
    <dgm:cxn modelId="{763BB493-26B4-4702-92F6-89F7DDC59968}" type="presParOf" srcId="{A77D7BB4-2253-4E13-AF85-973D69FF73EE}" destId="{3925333E-C218-4661-98E4-F94773DB303D}" srcOrd="1" destOrd="0" presId="urn:microsoft.com/office/officeart/2009/3/layout/HorizontalOrganizationChart"/>
    <dgm:cxn modelId="{AC8DFF68-C10F-458B-B81D-548895C3EC4E}" type="presParOf" srcId="{A77D7BB4-2253-4E13-AF85-973D69FF73EE}" destId="{F798C62D-9618-4A3C-B907-A202CE474240}" srcOrd="2" destOrd="0" presId="urn:microsoft.com/office/officeart/2009/3/layout/HorizontalOrganizationChart"/>
    <dgm:cxn modelId="{430FC035-B131-41BA-8AC2-BFC48383B3C5}" type="presParOf" srcId="{D6A0D219-DD04-49FF-8A40-5C23FF47A619}" destId="{D37074AF-08A2-4EFA-878E-6165F41C3259}" srcOrd="4" destOrd="0" presId="urn:microsoft.com/office/officeart/2009/3/layout/HorizontalOrganizationChart"/>
    <dgm:cxn modelId="{752BD8F7-27C7-46FD-9405-E9498EA232FA}" type="presParOf" srcId="{D6A0D219-DD04-49FF-8A40-5C23FF47A619}" destId="{A57B1B1E-D866-4B67-A60B-AC6A21CA7458}" srcOrd="5" destOrd="0" presId="urn:microsoft.com/office/officeart/2009/3/layout/HorizontalOrganizationChart"/>
    <dgm:cxn modelId="{D7B1DF6D-BD1B-4438-BDE6-E3673B6186B6}" type="presParOf" srcId="{A57B1B1E-D866-4B67-A60B-AC6A21CA7458}" destId="{F8A25CEC-08E6-474A-9590-4D340D57DBFD}" srcOrd="0" destOrd="0" presId="urn:microsoft.com/office/officeart/2009/3/layout/HorizontalOrganizationChart"/>
    <dgm:cxn modelId="{DB06C213-0676-43DC-9B84-1B4B5265B7BE}" type="presParOf" srcId="{F8A25CEC-08E6-474A-9590-4D340D57DBFD}" destId="{19C710E1-ADFA-428B-80C9-3246B0E2592C}" srcOrd="0" destOrd="0" presId="urn:microsoft.com/office/officeart/2009/3/layout/HorizontalOrganizationChart"/>
    <dgm:cxn modelId="{BD6436F1-6A73-4E23-A9C0-E7C801FA87FA}" type="presParOf" srcId="{F8A25CEC-08E6-474A-9590-4D340D57DBFD}" destId="{F332DFCE-E52C-45DA-8F7F-49173A7EE5B1}" srcOrd="1" destOrd="0" presId="urn:microsoft.com/office/officeart/2009/3/layout/HorizontalOrganizationChart"/>
    <dgm:cxn modelId="{12FE8A4C-CE10-4CBA-8DC3-2AAB78E36A18}" type="presParOf" srcId="{A57B1B1E-D866-4B67-A60B-AC6A21CA7458}" destId="{82C16154-E4E6-4C3D-A025-924776C4ADB8}" srcOrd="1" destOrd="0" presId="urn:microsoft.com/office/officeart/2009/3/layout/HorizontalOrganizationChart"/>
    <dgm:cxn modelId="{F1CB386B-3CC6-4B2F-82CF-1566D6EF2A2A}" type="presParOf" srcId="{A57B1B1E-D866-4B67-A60B-AC6A21CA7458}" destId="{3B5650E5-9259-45EB-AFA7-D956907221BE}" srcOrd="2" destOrd="0" presId="urn:microsoft.com/office/officeart/2009/3/layout/HorizontalOrganizationChart"/>
    <dgm:cxn modelId="{68DCAECD-20F0-4885-8F46-B1686B27D106}" type="presParOf" srcId="{C88D5301-3FED-4F80-A5E8-CF977300F9EE}" destId="{DD1671E2-E378-4C99-8DDA-C68AC076D9E6}" srcOrd="2" destOrd="0" presId="urn:microsoft.com/office/officeart/2009/3/layout/HorizontalOrganizationChart"/>
    <dgm:cxn modelId="{5DB45DD8-1001-42D6-9BE3-FEFA418E40AE}" type="presParOf" srcId="{84FCBED1-1A86-41C0-9C57-49CFA54779DB}" destId="{05DA2321-D19C-41D3-AE81-E1FCACA72643}" srcOrd="2" destOrd="0" presId="urn:microsoft.com/office/officeart/2009/3/layout/HorizontalOrganizationChart"/>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8D5D03-7529-43C5-8A14-43F7A944E604}" type="doc">
      <dgm:prSet loTypeId="urn:microsoft.com/office/officeart/2009/3/layout/HorizontalOrganizationChart" loCatId="hierarchy" qsTypeId="urn:microsoft.com/office/officeart/2005/8/quickstyle/simple1" qsCatId="simple" csTypeId="urn:microsoft.com/office/officeart/2005/8/colors/accent4_2" csCatId="accent4" phldr="1"/>
      <dgm:spPr/>
      <dgm:t>
        <a:bodyPr/>
        <a:lstStyle/>
        <a:p>
          <a:endParaRPr lang="en-NZ"/>
        </a:p>
      </dgm:t>
    </dgm:pt>
    <dgm:pt modelId="{42A5549E-8F09-4E2B-80C6-6251C91EC841}">
      <dgm:prSet phldrT="[Text]" custT="1"/>
      <dgm:spPr>
        <a:solidFill>
          <a:srgbClr val="FFC000"/>
        </a:solidFill>
        <a:ln>
          <a:solidFill>
            <a:schemeClr val="tx1"/>
          </a:solidFill>
        </a:ln>
      </dgm:spPr>
      <dgm:t>
        <a:bodyPr/>
        <a:lstStyle/>
        <a:p>
          <a:r>
            <a:rPr lang="en-NZ" sz="1200" dirty="0">
              <a:solidFill>
                <a:schemeClr val="tx1"/>
              </a:solidFill>
              <a:latin typeface="Arial Nova Cond" panose="020B0506020202020204" pitchFamily="34" charset="0"/>
            </a:rPr>
            <a:t>Profit After Direct Expenses</a:t>
          </a:r>
        </a:p>
      </dgm:t>
    </dgm:pt>
    <dgm:pt modelId="{2D628C13-330C-42F2-8F1B-AC758E8331DE}" type="parTrans" cxnId="{54349BAF-AF96-4185-A620-DDEE817A882C}">
      <dgm:prSet/>
      <dgm:spPr/>
      <dgm:t>
        <a:bodyPr/>
        <a:lstStyle/>
        <a:p>
          <a:endParaRPr lang="en-NZ" sz="1200">
            <a:solidFill>
              <a:schemeClr val="tx1"/>
            </a:solidFill>
            <a:latin typeface="Arial Nova Cond" panose="020B0506020202020204" pitchFamily="34" charset="0"/>
          </a:endParaRPr>
        </a:p>
      </dgm:t>
    </dgm:pt>
    <dgm:pt modelId="{C70C11C7-6815-4DC4-A83E-7DAB5AE815DF}" type="sibTrans" cxnId="{54349BAF-AF96-4185-A620-DDEE817A882C}">
      <dgm:prSet/>
      <dgm:spPr/>
      <dgm:t>
        <a:bodyPr/>
        <a:lstStyle/>
        <a:p>
          <a:endParaRPr lang="en-NZ" sz="1200">
            <a:solidFill>
              <a:schemeClr val="tx1"/>
            </a:solidFill>
            <a:latin typeface="Arial Nova Cond" panose="020B0506020202020204" pitchFamily="34" charset="0"/>
          </a:endParaRPr>
        </a:p>
      </dgm:t>
    </dgm:pt>
    <dgm:pt modelId="{7EF01FE2-DDC0-49DC-85CC-8B6ACD7AAB7C}">
      <dgm:prSet phldrT="[Text]" custT="1"/>
      <dgm:spPr>
        <a:solidFill>
          <a:srgbClr val="FFC000"/>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Sales</a:t>
          </a:r>
        </a:p>
      </dgm:t>
    </dgm:pt>
    <dgm:pt modelId="{0E71BB9E-594B-46EA-BBED-197BE70CE6CA}" type="parTrans" cxnId="{0C215530-3AEE-4E2B-8689-55228482B2C7}">
      <dgm:prSet/>
      <dgm:spPr/>
      <dgm:t>
        <a:bodyPr/>
        <a:lstStyle/>
        <a:p>
          <a:endParaRPr lang="en-NZ" sz="1200">
            <a:solidFill>
              <a:schemeClr val="tx1"/>
            </a:solidFill>
            <a:latin typeface="Arial Nova Cond" panose="020B0506020202020204" pitchFamily="34" charset="0"/>
          </a:endParaRPr>
        </a:p>
      </dgm:t>
    </dgm:pt>
    <dgm:pt modelId="{32C31978-02D8-413C-9778-ED485F7D9D70}" type="sibTrans" cxnId="{0C215530-3AEE-4E2B-8689-55228482B2C7}">
      <dgm:prSet/>
      <dgm:spPr/>
      <dgm:t>
        <a:bodyPr/>
        <a:lstStyle/>
        <a:p>
          <a:endParaRPr lang="en-NZ" sz="1200">
            <a:solidFill>
              <a:schemeClr val="tx1"/>
            </a:solidFill>
            <a:latin typeface="Arial Nova Cond" panose="020B0506020202020204" pitchFamily="34" charset="0"/>
          </a:endParaRPr>
        </a:p>
      </dgm:t>
    </dgm:pt>
    <dgm:pt modelId="{D93151B5-DBB0-4703-B160-B558FA58D8D3}">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Gross Profit</a:t>
          </a:r>
        </a:p>
      </dgm:t>
    </dgm:pt>
    <dgm:pt modelId="{96E57ED8-3178-457D-B5DF-564626FC8A2C}" type="parTrans" cxnId="{E806535D-C433-4FDF-80C6-C343A9BF8819}">
      <dgm:prSet/>
      <dgm:spPr/>
      <dgm:t>
        <a:bodyPr/>
        <a:lstStyle/>
        <a:p>
          <a:endParaRPr lang="en-NZ" sz="1200">
            <a:solidFill>
              <a:schemeClr val="tx1"/>
            </a:solidFill>
          </a:endParaRPr>
        </a:p>
      </dgm:t>
    </dgm:pt>
    <dgm:pt modelId="{2D2CEDBF-02EA-4932-9B82-13B1B992D1EC}" type="sibTrans" cxnId="{E806535D-C433-4FDF-80C6-C343A9BF8819}">
      <dgm:prSet/>
      <dgm:spPr/>
      <dgm:t>
        <a:bodyPr/>
        <a:lstStyle/>
        <a:p>
          <a:endParaRPr lang="en-NZ" sz="1200">
            <a:solidFill>
              <a:schemeClr val="tx1"/>
            </a:solidFill>
          </a:endParaRPr>
        </a:p>
      </dgm:t>
    </dgm:pt>
    <dgm:pt modelId="{57EBE1A5-EFE7-4BC8-AE51-3626B21A082A}">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Retail &amp; Internal Margin</a:t>
          </a:r>
        </a:p>
      </dgm:t>
    </dgm:pt>
    <dgm:pt modelId="{A285D1D9-D974-4CD3-8351-19F95162E5F8}" type="parTrans" cxnId="{9B87BE15-2BF0-4A71-B029-A0CAD09B7BE0}">
      <dgm:prSet/>
      <dgm:spPr/>
      <dgm:t>
        <a:bodyPr/>
        <a:lstStyle/>
        <a:p>
          <a:endParaRPr lang="en-NZ" sz="1200">
            <a:solidFill>
              <a:schemeClr val="tx1"/>
            </a:solidFill>
          </a:endParaRPr>
        </a:p>
      </dgm:t>
    </dgm:pt>
    <dgm:pt modelId="{A99A92AB-CB53-4DAB-802D-73112F5D118A}" type="sibTrans" cxnId="{9B87BE15-2BF0-4A71-B029-A0CAD09B7BE0}">
      <dgm:prSet/>
      <dgm:spPr/>
      <dgm:t>
        <a:bodyPr/>
        <a:lstStyle/>
        <a:p>
          <a:endParaRPr lang="en-NZ" sz="1200">
            <a:solidFill>
              <a:schemeClr val="tx1"/>
            </a:solidFill>
          </a:endParaRPr>
        </a:p>
      </dgm:t>
    </dgm:pt>
    <dgm:pt modelId="{29EDBA1B-9DB7-4AC8-929B-8091038290CB}">
      <dgm:prSet phldrT="[Text]" custT="1"/>
      <dgm:spPr>
        <a:solidFill>
          <a:srgbClr val="FFC000"/>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POPs</a:t>
          </a:r>
        </a:p>
      </dgm:t>
    </dgm:pt>
    <dgm:pt modelId="{F03956BD-B884-497D-AB57-C80B425F4DF3}" type="parTrans" cxnId="{EC1C6B89-8726-4BDA-8939-0D3CE2BB26E8}">
      <dgm:prSet/>
      <dgm:spPr/>
      <dgm:t>
        <a:bodyPr/>
        <a:lstStyle/>
        <a:p>
          <a:endParaRPr lang="en-NZ" sz="1200">
            <a:solidFill>
              <a:schemeClr val="tx1"/>
            </a:solidFill>
          </a:endParaRPr>
        </a:p>
      </dgm:t>
    </dgm:pt>
    <dgm:pt modelId="{D650870B-42AF-43AD-8421-04B90E428F5B}" type="sibTrans" cxnId="{EC1C6B89-8726-4BDA-8939-0D3CE2BB26E8}">
      <dgm:prSet/>
      <dgm:spPr/>
      <dgm:t>
        <a:bodyPr/>
        <a:lstStyle/>
        <a:p>
          <a:endParaRPr lang="en-NZ" sz="1200">
            <a:solidFill>
              <a:schemeClr val="tx1"/>
            </a:solidFill>
          </a:endParaRPr>
        </a:p>
      </dgm:t>
    </dgm:pt>
    <dgm:pt modelId="{6D7D9EE0-4586-4279-8133-8F5CC06E314D}">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Personnel Expenses</a:t>
          </a:r>
        </a:p>
      </dgm:t>
    </dgm:pt>
    <dgm:pt modelId="{6577C86E-0EE9-4D70-8962-A85EC2730AAF}" type="parTrans" cxnId="{76D7C947-16B0-4B95-95FB-BBB5D22DBB87}">
      <dgm:prSet/>
      <dgm:spPr/>
      <dgm:t>
        <a:bodyPr/>
        <a:lstStyle/>
        <a:p>
          <a:endParaRPr lang="en-NZ">
            <a:solidFill>
              <a:schemeClr val="tx1"/>
            </a:solidFill>
          </a:endParaRPr>
        </a:p>
      </dgm:t>
    </dgm:pt>
    <dgm:pt modelId="{A7253CF2-F797-4EE8-9D73-B17E253AB704}" type="sibTrans" cxnId="{76D7C947-16B0-4B95-95FB-BBB5D22DBB87}">
      <dgm:prSet/>
      <dgm:spPr/>
      <dgm:t>
        <a:bodyPr/>
        <a:lstStyle/>
        <a:p>
          <a:endParaRPr lang="en-NZ">
            <a:solidFill>
              <a:schemeClr val="tx1"/>
            </a:solidFill>
          </a:endParaRPr>
        </a:p>
      </dgm:t>
    </dgm:pt>
    <dgm:pt modelId="{5DE03FFA-E992-41DB-8EF5-F3053872BBFE}">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Freight recovery's</a:t>
          </a:r>
        </a:p>
      </dgm:t>
    </dgm:pt>
    <dgm:pt modelId="{C3D33E5E-BBB7-4AF3-9D2C-BB65F71A4CAC}" type="parTrans" cxnId="{B1F30942-9F02-4F94-8E45-EBB56AFAB54A}">
      <dgm:prSet/>
      <dgm:spPr/>
      <dgm:t>
        <a:bodyPr/>
        <a:lstStyle/>
        <a:p>
          <a:endParaRPr lang="en-NZ"/>
        </a:p>
      </dgm:t>
    </dgm:pt>
    <dgm:pt modelId="{5CEE2775-A34C-4C81-B648-3A0BA4E8B6A7}" type="sibTrans" cxnId="{B1F30942-9F02-4F94-8E45-EBB56AFAB54A}">
      <dgm:prSet/>
      <dgm:spPr/>
      <dgm:t>
        <a:bodyPr/>
        <a:lstStyle/>
        <a:p>
          <a:endParaRPr lang="en-NZ"/>
        </a:p>
      </dgm:t>
    </dgm:pt>
    <dgm:pt modelId="{556AC703-E97C-4466-BCDC-1A40F6616572}">
      <dgm:prSet phldrT="[Text]" custT="1"/>
      <dgm:spPr>
        <a:solidFill>
          <a:srgbClr val="FFC000">
            <a:hueOff val="0"/>
            <a:satOff val="0"/>
            <a:lumOff val="0"/>
            <a:alphaOff val="0"/>
          </a:srgbClr>
        </a:solidFill>
        <a:ln w="12700" cap="flat" cmpd="sng" algn="ctr">
          <a:solidFill>
            <a:prstClr val="black"/>
          </a:solidFill>
          <a:prstDash val="solid"/>
          <a:miter lim="800000"/>
        </a:ln>
        <a:effectLst/>
      </dgm:spPr>
      <dgm:t>
        <a:bodyPr spcFirstLastPara="0" vert="horz" wrap="square" lIns="29845" tIns="29845" rIns="29845" bIns="29845" numCol="1" spcCol="1270" anchor="ctr" anchorCtr="0"/>
        <a:lstStyle/>
        <a:p>
          <a:r>
            <a:rPr lang="en-NZ" sz="1200" kern="1200" dirty="0">
              <a:solidFill>
                <a:schemeClr val="tx1"/>
              </a:solidFill>
              <a:latin typeface="Arial Nova Cond" panose="020B0506020202020204" pitchFamily="34" charset="0"/>
              <a:ea typeface="+mn-ea"/>
              <a:cs typeface="+mn-cs"/>
            </a:rPr>
            <a:t>Expenses</a:t>
          </a:r>
        </a:p>
      </dgm:t>
    </dgm:pt>
    <dgm:pt modelId="{5676FEC6-6946-4F56-AF59-3C042DFE4761}" type="sibTrans" cxnId="{ED6AC922-4FA1-4419-B56A-FA202F1E98A2}">
      <dgm:prSet/>
      <dgm:spPr/>
      <dgm:t>
        <a:bodyPr/>
        <a:lstStyle/>
        <a:p>
          <a:endParaRPr lang="en-NZ"/>
        </a:p>
      </dgm:t>
    </dgm:pt>
    <dgm:pt modelId="{F92BDEF3-BBE4-4C81-855C-282D9AB6BA3D}" type="parTrans" cxnId="{ED6AC922-4FA1-4419-B56A-FA202F1E98A2}">
      <dgm:prSet/>
      <dgm:spPr/>
      <dgm:t>
        <a:bodyPr/>
        <a:lstStyle/>
        <a:p>
          <a:endParaRPr lang="en-NZ"/>
        </a:p>
      </dgm:t>
    </dgm:pt>
    <dgm:pt modelId="{EB89AAAF-C48C-4E97-B12D-5858720ABC64}" type="pres">
      <dgm:prSet presAssocID="{C08D5D03-7529-43C5-8A14-43F7A944E604}" presName="hierChild1" presStyleCnt="0">
        <dgm:presLayoutVars>
          <dgm:orgChart val="1"/>
          <dgm:chPref val="1"/>
          <dgm:dir/>
          <dgm:animOne val="branch"/>
          <dgm:animLvl val="lvl"/>
          <dgm:resizeHandles/>
        </dgm:presLayoutVars>
      </dgm:prSet>
      <dgm:spPr/>
    </dgm:pt>
    <dgm:pt modelId="{84FCBED1-1A86-41C0-9C57-49CFA54779DB}" type="pres">
      <dgm:prSet presAssocID="{42A5549E-8F09-4E2B-80C6-6251C91EC841}" presName="hierRoot1" presStyleCnt="0">
        <dgm:presLayoutVars>
          <dgm:hierBranch val="init"/>
        </dgm:presLayoutVars>
      </dgm:prSet>
      <dgm:spPr/>
    </dgm:pt>
    <dgm:pt modelId="{0DC089CA-27A0-44EC-A4A9-5E116CCD236D}" type="pres">
      <dgm:prSet presAssocID="{42A5549E-8F09-4E2B-80C6-6251C91EC841}" presName="rootComposite1" presStyleCnt="0"/>
      <dgm:spPr/>
    </dgm:pt>
    <dgm:pt modelId="{02DABB09-882D-4600-B9BB-A9F5B0CFA8A2}" type="pres">
      <dgm:prSet presAssocID="{42A5549E-8F09-4E2B-80C6-6251C91EC841}" presName="rootText1" presStyleLbl="node0" presStyleIdx="0" presStyleCnt="1">
        <dgm:presLayoutVars>
          <dgm:chPref val="3"/>
        </dgm:presLayoutVars>
      </dgm:prSet>
      <dgm:spPr/>
    </dgm:pt>
    <dgm:pt modelId="{90F0A0A0-9BE7-4380-BE30-479BE9CCFFFC}" type="pres">
      <dgm:prSet presAssocID="{42A5549E-8F09-4E2B-80C6-6251C91EC841}" presName="rootConnector1" presStyleLbl="node1" presStyleIdx="0" presStyleCnt="0"/>
      <dgm:spPr/>
    </dgm:pt>
    <dgm:pt modelId="{76051CF7-F39B-4F82-A538-F818CEA8F637}" type="pres">
      <dgm:prSet presAssocID="{42A5549E-8F09-4E2B-80C6-6251C91EC841}" presName="hierChild2" presStyleCnt="0"/>
      <dgm:spPr/>
    </dgm:pt>
    <dgm:pt modelId="{C078C89A-A479-4B57-BF60-06ACDC376E28}" type="pres">
      <dgm:prSet presAssocID="{0E71BB9E-594B-46EA-BBED-197BE70CE6CA}" presName="Name64" presStyleLbl="parChTrans1D2" presStyleIdx="0" presStyleCnt="3"/>
      <dgm:spPr/>
    </dgm:pt>
    <dgm:pt modelId="{2241C8AD-FEAD-4056-82B0-871E4D491142}" type="pres">
      <dgm:prSet presAssocID="{7EF01FE2-DDC0-49DC-85CC-8B6ACD7AAB7C}" presName="hierRoot2" presStyleCnt="0">
        <dgm:presLayoutVars>
          <dgm:hierBranch val="init"/>
        </dgm:presLayoutVars>
      </dgm:prSet>
      <dgm:spPr/>
    </dgm:pt>
    <dgm:pt modelId="{1FB382DB-238A-413A-925C-4B70ADBB1BFA}" type="pres">
      <dgm:prSet presAssocID="{7EF01FE2-DDC0-49DC-85CC-8B6ACD7AAB7C}" presName="rootComposite" presStyleCnt="0"/>
      <dgm:spPr/>
    </dgm:pt>
    <dgm:pt modelId="{99AC3F2E-BB39-4935-80A3-3772B456C6A4}" type="pres">
      <dgm:prSet presAssocID="{7EF01FE2-DDC0-49DC-85CC-8B6ACD7AAB7C}" presName="rootText" presStyleLbl="node2" presStyleIdx="0" presStyleCnt="3">
        <dgm:presLayoutVars>
          <dgm:chPref val="3"/>
        </dgm:presLayoutVars>
      </dgm:prSet>
      <dgm:spPr>
        <a:xfrm>
          <a:off x="5736083" y="1317920"/>
          <a:ext cx="2388691" cy="728550"/>
        </a:xfrm>
        <a:prstGeom prst="rect">
          <a:avLst/>
        </a:prstGeom>
      </dgm:spPr>
    </dgm:pt>
    <dgm:pt modelId="{887E8DE5-CFA0-4B1C-94EF-E197AFE3BFF8}" type="pres">
      <dgm:prSet presAssocID="{7EF01FE2-DDC0-49DC-85CC-8B6ACD7AAB7C}" presName="rootConnector" presStyleLbl="node2" presStyleIdx="0" presStyleCnt="3"/>
      <dgm:spPr/>
    </dgm:pt>
    <dgm:pt modelId="{25F74729-3F48-4377-A478-B8631AE17926}" type="pres">
      <dgm:prSet presAssocID="{7EF01FE2-DDC0-49DC-85CC-8B6ACD7AAB7C}" presName="hierChild4" presStyleCnt="0"/>
      <dgm:spPr/>
    </dgm:pt>
    <dgm:pt modelId="{B58682A2-662E-4F97-BC50-5C9C9F2F8748}" type="pres">
      <dgm:prSet presAssocID="{F03956BD-B884-497D-AB57-C80B425F4DF3}" presName="Name64" presStyleLbl="parChTrans1D3" presStyleIdx="0" presStyleCnt="4"/>
      <dgm:spPr/>
    </dgm:pt>
    <dgm:pt modelId="{E3BD1AFE-5BAB-4DD7-AD27-2B9DE0E83794}" type="pres">
      <dgm:prSet presAssocID="{29EDBA1B-9DB7-4AC8-929B-8091038290CB}" presName="hierRoot2" presStyleCnt="0">
        <dgm:presLayoutVars>
          <dgm:hierBranch val="init"/>
        </dgm:presLayoutVars>
      </dgm:prSet>
      <dgm:spPr/>
    </dgm:pt>
    <dgm:pt modelId="{70BDF660-36FA-4E85-BB5B-BB6FB9C5713D}" type="pres">
      <dgm:prSet presAssocID="{29EDBA1B-9DB7-4AC8-929B-8091038290CB}" presName="rootComposite" presStyleCnt="0"/>
      <dgm:spPr/>
    </dgm:pt>
    <dgm:pt modelId="{FA727DDA-AC4F-4C1C-9AEB-8C5C24DB4383}" type="pres">
      <dgm:prSet presAssocID="{29EDBA1B-9DB7-4AC8-929B-8091038290CB}" presName="rootText" presStyleLbl="node3" presStyleIdx="0" presStyleCnt="4">
        <dgm:presLayoutVars>
          <dgm:chPref val="3"/>
        </dgm:presLayoutVars>
      </dgm:prSet>
      <dgm:spPr/>
    </dgm:pt>
    <dgm:pt modelId="{E869B647-AEFA-4D6E-8C36-1E01FE335448}" type="pres">
      <dgm:prSet presAssocID="{29EDBA1B-9DB7-4AC8-929B-8091038290CB}" presName="rootConnector" presStyleLbl="node3" presStyleIdx="0" presStyleCnt="4"/>
      <dgm:spPr/>
    </dgm:pt>
    <dgm:pt modelId="{9F913B75-66F5-4870-8CD6-5F7B9C56F074}" type="pres">
      <dgm:prSet presAssocID="{29EDBA1B-9DB7-4AC8-929B-8091038290CB}" presName="hierChild4" presStyleCnt="0"/>
      <dgm:spPr/>
    </dgm:pt>
    <dgm:pt modelId="{68102027-F83A-41A8-B969-C083B2739BDE}" type="pres">
      <dgm:prSet presAssocID="{29EDBA1B-9DB7-4AC8-929B-8091038290CB}" presName="hierChild5" presStyleCnt="0"/>
      <dgm:spPr/>
    </dgm:pt>
    <dgm:pt modelId="{FA59050E-34F1-4A3B-BD5B-4FAA6AFDE8A6}" type="pres">
      <dgm:prSet presAssocID="{7EF01FE2-DDC0-49DC-85CC-8B6ACD7AAB7C}" presName="hierChild5" presStyleCnt="0"/>
      <dgm:spPr/>
    </dgm:pt>
    <dgm:pt modelId="{7F130522-5CF3-46F2-84EC-E6321C36B5B4}" type="pres">
      <dgm:prSet presAssocID="{96E57ED8-3178-457D-B5DF-564626FC8A2C}" presName="Name64" presStyleLbl="parChTrans1D2" presStyleIdx="1" presStyleCnt="3"/>
      <dgm:spPr/>
    </dgm:pt>
    <dgm:pt modelId="{597A28EC-A5AA-4570-8757-033A8C9ACE63}" type="pres">
      <dgm:prSet presAssocID="{D93151B5-DBB0-4703-B160-B558FA58D8D3}" presName="hierRoot2" presStyleCnt="0">
        <dgm:presLayoutVars>
          <dgm:hierBranch val="init"/>
        </dgm:presLayoutVars>
      </dgm:prSet>
      <dgm:spPr/>
    </dgm:pt>
    <dgm:pt modelId="{3668C5DF-37C1-4E31-97E8-F43338CA2B9E}" type="pres">
      <dgm:prSet presAssocID="{D93151B5-DBB0-4703-B160-B558FA58D8D3}" presName="rootComposite" presStyleCnt="0"/>
      <dgm:spPr/>
    </dgm:pt>
    <dgm:pt modelId="{4CF5E6DE-FD99-41D4-9463-240DB67E76D9}" type="pres">
      <dgm:prSet presAssocID="{D93151B5-DBB0-4703-B160-B558FA58D8D3}" presName="rootText" presStyleLbl="node2" presStyleIdx="1" presStyleCnt="3">
        <dgm:presLayoutVars>
          <dgm:chPref val="3"/>
        </dgm:presLayoutVars>
      </dgm:prSet>
      <dgm:spPr/>
    </dgm:pt>
    <dgm:pt modelId="{1BC05D25-B55E-49B6-9B1B-5F6AEB3827BB}" type="pres">
      <dgm:prSet presAssocID="{D93151B5-DBB0-4703-B160-B558FA58D8D3}" presName="rootConnector" presStyleLbl="node2" presStyleIdx="1" presStyleCnt="3"/>
      <dgm:spPr/>
    </dgm:pt>
    <dgm:pt modelId="{B6D2EFE1-393B-453F-A8FF-CF98750F21BE}" type="pres">
      <dgm:prSet presAssocID="{D93151B5-DBB0-4703-B160-B558FA58D8D3}" presName="hierChild4" presStyleCnt="0"/>
      <dgm:spPr/>
    </dgm:pt>
    <dgm:pt modelId="{FEC7561F-6F5A-415F-821B-B1FD309F1B57}" type="pres">
      <dgm:prSet presAssocID="{A285D1D9-D974-4CD3-8351-19F95162E5F8}" presName="Name64" presStyleLbl="parChTrans1D3" presStyleIdx="1" presStyleCnt="4"/>
      <dgm:spPr/>
    </dgm:pt>
    <dgm:pt modelId="{C7BB65DC-C6A5-4605-8879-CCD4D903598A}" type="pres">
      <dgm:prSet presAssocID="{57EBE1A5-EFE7-4BC8-AE51-3626B21A082A}" presName="hierRoot2" presStyleCnt="0">
        <dgm:presLayoutVars>
          <dgm:hierBranch val="init"/>
        </dgm:presLayoutVars>
      </dgm:prSet>
      <dgm:spPr/>
    </dgm:pt>
    <dgm:pt modelId="{592E30E8-F4EE-4E35-8CB5-C2F7DA37808A}" type="pres">
      <dgm:prSet presAssocID="{57EBE1A5-EFE7-4BC8-AE51-3626B21A082A}" presName="rootComposite" presStyleCnt="0"/>
      <dgm:spPr/>
    </dgm:pt>
    <dgm:pt modelId="{3CCE6814-EA49-4E30-8E62-A558F44A8BEF}" type="pres">
      <dgm:prSet presAssocID="{57EBE1A5-EFE7-4BC8-AE51-3626B21A082A}" presName="rootText" presStyleLbl="node3" presStyleIdx="1" presStyleCnt="4">
        <dgm:presLayoutVars>
          <dgm:chPref val="3"/>
        </dgm:presLayoutVars>
      </dgm:prSet>
      <dgm:spPr/>
    </dgm:pt>
    <dgm:pt modelId="{1F003AEA-1E62-4F7D-B247-FF392948E18E}" type="pres">
      <dgm:prSet presAssocID="{57EBE1A5-EFE7-4BC8-AE51-3626B21A082A}" presName="rootConnector" presStyleLbl="node3" presStyleIdx="1" presStyleCnt="4"/>
      <dgm:spPr/>
    </dgm:pt>
    <dgm:pt modelId="{0B082972-F473-434C-991A-64BAC418D76B}" type="pres">
      <dgm:prSet presAssocID="{57EBE1A5-EFE7-4BC8-AE51-3626B21A082A}" presName="hierChild4" presStyleCnt="0"/>
      <dgm:spPr/>
    </dgm:pt>
    <dgm:pt modelId="{524FEA5F-4B04-4143-BB74-A58B2A94CC06}" type="pres">
      <dgm:prSet presAssocID="{57EBE1A5-EFE7-4BC8-AE51-3626B21A082A}" presName="hierChild5" presStyleCnt="0"/>
      <dgm:spPr/>
    </dgm:pt>
    <dgm:pt modelId="{ABAF4990-CAA0-433E-9F29-0F601B56F5B8}" type="pres">
      <dgm:prSet presAssocID="{D93151B5-DBB0-4703-B160-B558FA58D8D3}" presName="hierChild5" presStyleCnt="0"/>
      <dgm:spPr/>
    </dgm:pt>
    <dgm:pt modelId="{B90D98DA-0B67-4500-96E3-1752BB654830}" type="pres">
      <dgm:prSet presAssocID="{F92BDEF3-BBE4-4C81-855C-282D9AB6BA3D}" presName="Name64" presStyleLbl="parChTrans1D2" presStyleIdx="2" presStyleCnt="3"/>
      <dgm:spPr/>
    </dgm:pt>
    <dgm:pt modelId="{723BA073-EB7C-4866-A263-0CE08C85B37A}" type="pres">
      <dgm:prSet presAssocID="{556AC703-E97C-4466-BCDC-1A40F6616572}" presName="hierRoot2" presStyleCnt="0">
        <dgm:presLayoutVars>
          <dgm:hierBranch val="init"/>
        </dgm:presLayoutVars>
      </dgm:prSet>
      <dgm:spPr/>
    </dgm:pt>
    <dgm:pt modelId="{A0CAFCB3-2FC7-4ED6-BFBB-E5922E01AF8F}" type="pres">
      <dgm:prSet presAssocID="{556AC703-E97C-4466-BCDC-1A40F6616572}" presName="rootComposite" presStyleCnt="0"/>
      <dgm:spPr/>
    </dgm:pt>
    <dgm:pt modelId="{42F94E54-D1FD-4F56-861F-FCDF181838E0}" type="pres">
      <dgm:prSet presAssocID="{556AC703-E97C-4466-BCDC-1A40F6616572}" presName="rootText" presStyleLbl="node2" presStyleIdx="2" presStyleCnt="3">
        <dgm:presLayoutVars>
          <dgm:chPref val="3"/>
        </dgm:presLayoutVars>
      </dgm:prSet>
      <dgm:spPr/>
    </dgm:pt>
    <dgm:pt modelId="{76D560B4-1256-4B8E-A294-DDB1323B0306}" type="pres">
      <dgm:prSet presAssocID="{556AC703-E97C-4466-BCDC-1A40F6616572}" presName="rootConnector" presStyleLbl="node2" presStyleIdx="2" presStyleCnt="3"/>
      <dgm:spPr/>
    </dgm:pt>
    <dgm:pt modelId="{4D3FA225-2E0D-47AC-AC09-13FAD1BAD598}" type="pres">
      <dgm:prSet presAssocID="{556AC703-E97C-4466-BCDC-1A40F6616572}" presName="hierChild4" presStyleCnt="0"/>
      <dgm:spPr/>
    </dgm:pt>
    <dgm:pt modelId="{8F7711CE-4F48-4D40-88B3-877836B0124B}" type="pres">
      <dgm:prSet presAssocID="{6577C86E-0EE9-4D70-8962-A85EC2730AAF}" presName="Name64" presStyleLbl="parChTrans1D3" presStyleIdx="2" presStyleCnt="4"/>
      <dgm:spPr/>
    </dgm:pt>
    <dgm:pt modelId="{21EB571A-15B4-42C8-AB95-913900DD90BE}" type="pres">
      <dgm:prSet presAssocID="{6D7D9EE0-4586-4279-8133-8F5CC06E314D}" presName="hierRoot2" presStyleCnt="0">
        <dgm:presLayoutVars>
          <dgm:hierBranch val="init"/>
        </dgm:presLayoutVars>
      </dgm:prSet>
      <dgm:spPr/>
    </dgm:pt>
    <dgm:pt modelId="{F1B87D12-7D6A-4DF4-B6F1-EB0A02D9D5C2}" type="pres">
      <dgm:prSet presAssocID="{6D7D9EE0-4586-4279-8133-8F5CC06E314D}" presName="rootComposite" presStyleCnt="0"/>
      <dgm:spPr/>
    </dgm:pt>
    <dgm:pt modelId="{30BF66DE-7D0C-442C-BEB5-3CB71905DFF6}" type="pres">
      <dgm:prSet presAssocID="{6D7D9EE0-4586-4279-8133-8F5CC06E314D}" presName="rootText" presStyleLbl="node3" presStyleIdx="2" presStyleCnt="4">
        <dgm:presLayoutVars>
          <dgm:chPref val="3"/>
        </dgm:presLayoutVars>
      </dgm:prSet>
      <dgm:spPr/>
    </dgm:pt>
    <dgm:pt modelId="{4C2D4052-499D-451F-812C-CAFF92F90A10}" type="pres">
      <dgm:prSet presAssocID="{6D7D9EE0-4586-4279-8133-8F5CC06E314D}" presName="rootConnector" presStyleLbl="node3" presStyleIdx="2" presStyleCnt="4"/>
      <dgm:spPr/>
    </dgm:pt>
    <dgm:pt modelId="{C0195675-8095-4BA9-BE35-B552DE966599}" type="pres">
      <dgm:prSet presAssocID="{6D7D9EE0-4586-4279-8133-8F5CC06E314D}" presName="hierChild4" presStyleCnt="0"/>
      <dgm:spPr/>
    </dgm:pt>
    <dgm:pt modelId="{874EE9EB-25C7-4C8A-9BF5-3AF2823BA734}" type="pres">
      <dgm:prSet presAssocID="{6D7D9EE0-4586-4279-8133-8F5CC06E314D}" presName="hierChild5" presStyleCnt="0"/>
      <dgm:spPr/>
    </dgm:pt>
    <dgm:pt modelId="{9B42B5E7-83FA-4032-B44B-68E30B4814DF}" type="pres">
      <dgm:prSet presAssocID="{C3D33E5E-BBB7-4AF3-9D2C-BB65F71A4CAC}" presName="Name64" presStyleLbl="parChTrans1D3" presStyleIdx="3" presStyleCnt="4"/>
      <dgm:spPr/>
    </dgm:pt>
    <dgm:pt modelId="{6A8C2E20-8984-4E6E-A248-3D6AB579CE45}" type="pres">
      <dgm:prSet presAssocID="{5DE03FFA-E992-41DB-8EF5-F3053872BBFE}" presName="hierRoot2" presStyleCnt="0">
        <dgm:presLayoutVars>
          <dgm:hierBranch val="init"/>
        </dgm:presLayoutVars>
      </dgm:prSet>
      <dgm:spPr/>
    </dgm:pt>
    <dgm:pt modelId="{032D7B36-A801-4102-911B-2721A85717AB}" type="pres">
      <dgm:prSet presAssocID="{5DE03FFA-E992-41DB-8EF5-F3053872BBFE}" presName="rootComposite" presStyleCnt="0"/>
      <dgm:spPr/>
    </dgm:pt>
    <dgm:pt modelId="{C46B2D1F-C47C-43EA-952D-04A7A95DC80A}" type="pres">
      <dgm:prSet presAssocID="{5DE03FFA-E992-41DB-8EF5-F3053872BBFE}" presName="rootText" presStyleLbl="node3" presStyleIdx="3" presStyleCnt="4">
        <dgm:presLayoutVars>
          <dgm:chPref val="3"/>
        </dgm:presLayoutVars>
      </dgm:prSet>
      <dgm:spPr/>
    </dgm:pt>
    <dgm:pt modelId="{2C013D15-AC74-4BF0-8253-66B39A4B1985}" type="pres">
      <dgm:prSet presAssocID="{5DE03FFA-E992-41DB-8EF5-F3053872BBFE}" presName="rootConnector" presStyleLbl="node3" presStyleIdx="3" presStyleCnt="4"/>
      <dgm:spPr/>
    </dgm:pt>
    <dgm:pt modelId="{27840838-BD37-4D13-BD27-1AB82BF1A5F9}" type="pres">
      <dgm:prSet presAssocID="{5DE03FFA-E992-41DB-8EF5-F3053872BBFE}" presName="hierChild4" presStyleCnt="0"/>
      <dgm:spPr/>
    </dgm:pt>
    <dgm:pt modelId="{8DF0F7A9-AA51-4D62-A857-CFCDB726BA5D}" type="pres">
      <dgm:prSet presAssocID="{5DE03FFA-E992-41DB-8EF5-F3053872BBFE}" presName="hierChild5" presStyleCnt="0"/>
      <dgm:spPr/>
    </dgm:pt>
    <dgm:pt modelId="{E39B066C-54BC-48E5-90A6-6FF9DA64DEFE}" type="pres">
      <dgm:prSet presAssocID="{556AC703-E97C-4466-BCDC-1A40F6616572}" presName="hierChild5" presStyleCnt="0"/>
      <dgm:spPr/>
    </dgm:pt>
    <dgm:pt modelId="{05DA2321-D19C-41D3-AE81-E1FCACA72643}" type="pres">
      <dgm:prSet presAssocID="{42A5549E-8F09-4E2B-80C6-6251C91EC841}" presName="hierChild3" presStyleCnt="0"/>
      <dgm:spPr/>
    </dgm:pt>
  </dgm:ptLst>
  <dgm:cxnLst>
    <dgm:cxn modelId="{61990D08-DDE7-41A9-8B67-0EA729F99549}" type="presOf" srcId="{6577C86E-0EE9-4D70-8962-A85EC2730AAF}" destId="{8F7711CE-4F48-4D40-88B3-877836B0124B}" srcOrd="0" destOrd="0" presId="urn:microsoft.com/office/officeart/2009/3/layout/HorizontalOrganizationChart"/>
    <dgm:cxn modelId="{70DE940D-4281-43D6-B92B-401A7E30DBE8}" type="presOf" srcId="{5DE03FFA-E992-41DB-8EF5-F3053872BBFE}" destId="{2C013D15-AC74-4BF0-8253-66B39A4B1985}" srcOrd="1" destOrd="0" presId="urn:microsoft.com/office/officeart/2009/3/layout/HorizontalOrganizationChart"/>
    <dgm:cxn modelId="{1426800F-2F50-46D9-A8E6-AFF47A51A9AE}" type="presOf" srcId="{57EBE1A5-EFE7-4BC8-AE51-3626B21A082A}" destId="{1F003AEA-1E62-4F7D-B247-FF392948E18E}" srcOrd="1" destOrd="0" presId="urn:microsoft.com/office/officeart/2009/3/layout/HorizontalOrganizationChart"/>
    <dgm:cxn modelId="{9B87BE15-2BF0-4A71-B029-A0CAD09B7BE0}" srcId="{D93151B5-DBB0-4703-B160-B558FA58D8D3}" destId="{57EBE1A5-EFE7-4BC8-AE51-3626B21A082A}" srcOrd="0" destOrd="0" parTransId="{A285D1D9-D974-4CD3-8351-19F95162E5F8}" sibTransId="{A99A92AB-CB53-4DAB-802D-73112F5D118A}"/>
    <dgm:cxn modelId="{7945AE1A-C70B-4662-82D7-0D94C18F50D0}" type="presOf" srcId="{29EDBA1B-9DB7-4AC8-929B-8091038290CB}" destId="{FA727DDA-AC4F-4C1C-9AEB-8C5C24DB4383}" srcOrd="0" destOrd="0" presId="urn:microsoft.com/office/officeart/2009/3/layout/HorizontalOrganizationChart"/>
    <dgm:cxn modelId="{ED6AC922-4FA1-4419-B56A-FA202F1E98A2}" srcId="{42A5549E-8F09-4E2B-80C6-6251C91EC841}" destId="{556AC703-E97C-4466-BCDC-1A40F6616572}" srcOrd="2" destOrd="0" parTransId="{F92BDEF3-BBE4-4C81-855C-282D9AB6BA3D}" sibTransId="{5676FEC6-6946-4F56-AF59-3C042DFE4761}"/>
    <dgm:cxn modelId="{0C215530-3AEE-4E2B-8689-55228482B2C7}" srcId="{42A5549E-8F09-4E2B-80C6-6251C91EC841}" destId="{7EF01FE2-DDC0-49DC-85CC-8B6ACD7AAB7C}" srcOrd="0" destOrd="0" parTransId="{0E71BB9E-594B-46EA-BBED-197BE70CE6CA}" sibTransId="{32C31978-02D8-413C-9778-ED485F7D9D70}"/>
    <dgm:cxn modelId="{193C4531-7D57-4E0B-AE4E-794693BC41E8}" type="presOf" srcId="{F92BDEF3-BBE4-4C81-855C-282D9AB6BA3D}" destId="{B90D98DA-0B67-4500-96E3-1752BB654830}" srcOrd="0" destOrd="0" presId="urn:microsoft.com/office/officeart/2009/3/layout/HorizontalOrganizationChart"/>
    <dgm:cxn modelId="{7C71CD3A-42AC-4F01-95A7-3CC86A15B992}" type="presOf" srcId="{C3D33E5E-BBB7-4AF3-9D2C-BB65F71A4CAC}" destId="{9B42B5E7-83FA-4032-B44B-68E30B4814DF}" srcOrd="0" destOrd="0" presId="urn:microsoft.com/office/officeart/2009/3/layout/HorizontalOrganizationChart"/>
    <dgm:cxn modelId="{5117F83E-A162-408A-8373-65E3BD1051B7}" type="presOf" srcId="{6D7D9EE0-4586-4279-8133-8F5CC06E314D}" destId="{30BF66DE-7D0C-442C-BEB5-3CB71905DFF6}" srcOrd="0" destOrd="0" presId="urn:microsoft.com/office/officeart/2009/3/layout/HorizontalOrganizationChart"/>
    <dgm:cxn modelId="{E806535D-C433-4FDF-80C6-C343A9BF8819}" srcId="{42A5549E-8F09-4E2B-80C6-6251C91EC841}" destId="{D93151B5-DBB0-4703-B160-B558FA58D8D3}" srcOrd="1" destOrd="0" parTransId="{96E57ED8-3178-457D-B5DF-564626FC8A2C}" sibTransId="{2D2CEDBF-02EA-4932-9B82-13B1B992D1EC}"/>
    <dgm:cxn modelId="{EDD49C5D-FFFB-4C96-8E17-3B66ABF1E191}" type="presOf" srcId="{D93151B5-DBB0-4703-B160-B558FA58D8D3}" destId="{4CF5E6DE-FD99-41D4-9463-240DB67E76D9}" srcOrd="0" destOrd="0" presId="urn:microsoft.com/office/officeart/2009/3/layout/HorizontalOrganizationChart"/>
    <dgm:cxn modelId="{B1F30942-9F02-4F94-8E45-EBB56AFAB54A}" srcId="{556AC703-E97C-4466-BCDC-1A40F6616572}" destId="{5DE03FFA-E992-41DB-8EF5-F3053872BBFE}" srcOrd="1" destOrd="0" parTransId="{C3D33E5E-BBB7-4AF3-9D2C-BB65F71A4CAC}" sibTransId="{5CEE2775-A34C-4C81-B648-3A0BA4E8B6A7}"/>
    <dgm:cxn modelId="{EF146244-D008-4C84-B24C-44D0B0FD766B}" type="presOf" srcId="{A285D1D9-D974-4CD3-8351-19F95162E5F8}" destId="{FEC7561F-6F5A-415F-821B-B1FD309F1B57}" srcOrd="0" destOrd="0" presId="urn:microsoft.com/office/officeart/2009/3/layout/HorizontalOrganizationChart"/>
    <dgm:cxn modelId="{76D7C947-16B0-4B95-95FB-BBB5D22DBB87}" srcId="{556AC703-E97C-4466-BCDC-1A40F6616572}" destId="{6D7D9EE0-4586-4279-8133-8F5CC06E314D}" srcOrd="0" destOrd="0" parTransId="{6577C86E-0EE9-4D70-8962-A85EC2730AAF}" sibTransId="{A7253CF2-F797-4EE8-9D73-B17E253AB704}"/>
    <dgm:cxn modelId="{A462226C-AD41-4772-8048-FD4F6A6C6DA4}" type="presOf" srcId="{C08D5D03-7529-43C5-8A14-43F7A944E604}" destId="{EB89AAAF-C48C-4E97-B12D-5858720ABC64}" srcOrd="0" destOrd="0" presId="urn:microsoft.com/office/officeart/2009/3/layout/HorizontalOrganizationChart"/>
    <dgm:cxn modelId="{F5AFCA4E-2593-4024-A847-F625FBA2FC39}" type="presOf" srcId="{556AC703-E97C-4466-BCDC-1A40F6616572}" destId="{76D560B4-1256-4B8E-A294-DDB1323B0306}" srcOrd="1" destOrd="0" presId="urn:microsoft.com/office/officeart/2009/3/layout/HorizontalOrganizationChart"/>
    <dgm:cxn modelId="{FB7DCE52-0AD6-4D47-A5BF-43D2D15653EC}" type="presOf" srcId="{42A5549E-8F09-4E2B-80C6-6251C91EC841}" destId="{02DABB09-882D-4600-B9BB-A9F5B0CFA8A2}" srcOrd="0" destOrd="0" presId="urn:microsoft.com/office/officeart/2009/3/layout/HorizontalOrganizationChart"/>
    <dgm:cxn modelId="{8A637055-5B0C-4B78-AF6C-1CE97E41D4E6}" type="presOf" srcId="{7EF01FE2-DDC0-49DC-85CC-8B6ACD7AAB7C}" destId="{887E8DE5-CFA0-4B1C-94EF-E197AFE3BFF8}" srcOrd="1" destOrd="0" presId="urn:microsoft.com/office/officeart/2009/3/layout/HorizontalOrganizationChart"/>
    <dgm:cxn modelId="{EC1C6B89-8726-4BDA-8939-0D3CE2BB26E8}" srcId="{7EF01FE2-DDC0-49DC-85CC-8B6ACD7AAB7C}" destId="{29EDBA1B-9DB7-4AC8-929B-8091038290CB}" srcOrd="0" destOrd="0" parTransId="{F03956BD-B884-497D-AB57-C80B425F4DF3}" sibTransId="{D650870B-42AF-43AD-8421-04B90E428F5B}"/>
    <dgm:cxn modelId="{A71EA292-136B-4021-826E-0EC064B3B15C}" type="presOf" srcId="{D93151B5-DBB0-4703-B160-B558FA58D8D3}" destId="{1BC05D25-B55E-49B6-9B1B-5F6AEB3827BB}" srcOrd="1" destOrd="0" presId="urn:microsoft.com/office/officeart/2009/3/layout/HorizontalOrganizationChart"/>
    <dgm:cxn modelId="{7C3E48A4-913B-4C8B-B34C-70B98DBC64D1}" type="presOf" srcId="{42A5549E-8F09-4E2B-80C6-6251C91EC841}" destId="{90F0A0A0-9BE7-4380-BE30-479BE9CCFFFC}" srcOrd="1" destOrd="0" presId="urn:microsoft.com/office/officeart/2009/3/layout/HorizontalOrganizationChart"/>
    <dgm:cxn modelId="{FC9413A6-11BC-48B6-B20C-9DED2EEA99B3}" type="presOf" srcId="{7EF01FE2-DDC0-49DC-85CC-8B6ACD7AAB7C}" destId="{99AC3F2E-BB39-4935-80A3-3772B456C6A4}" srcOrd="0" destOrd="0" presId="urn:microsoft.com/office/officeart/2009/3/layout/HorizontalOrganizationChart"/>
    <dgm:cxn modelId="{E6E1C4A9-96C1-4C91-B6D2-B8BC1D47D8B0}" type="presOf" srcId="{0E71BB9E-594B-46EA-BBED-197BE70CE6CA}" destId="{C078C89A-A479-4B57-BF60-06ACDC376E28}" srcOrd="0" destOrd="0" presId="urn:microsoft.com/office/officeart/2009/3/layout/HorizontalOrganizationChart"/>
    <dgm:cxn modelId="{54349BAF-AF96-4185-A620-DDEE817A882C}" srcId="{C08D5D03-7529-43C5-8A14-43F7A944E604}" destId="{42A5549E-8F09-4E2B-80C6-6251C91EC841}" srcOrd="0" destOrd="0" parTransId="{2D628C13-330C-42F2-8F1B-AC758E8331DE}" sibTransId="{C70C11C7-6815-4DC4-A83E-7DAB5AE815DF}"/>
    <dgm:cxn modelId="{F7C04EB4-90A1-4F5D-954D-D44197E480C0}" type="presOf" srcId="{5DE03FFA-E992-41DB-8EF5-F3053872BBFE}" destId="{C46B2D1F-C47C-43EA-952D-04A7A95DC80A}" srcOrd="0" destOrd="0" presId="urn:microsoft.com/office/officeart/2009/3/layout/HorizontalOrganizationChart"/>
    <dgm:cxn modelId="{17AFAEBD-A89E-418D-B72E-742F9C189621}" type="presOf" srcId="{57EBE1A5-EFE7-4BC8-AE51-3626B21A082A}" destId="{3CCE6814-EA49-4E30-8E62-A558F44A8BEF}" srcOrd="0" destOrd="0" presId="urn:microsoft.com/office/officeart/2009/3/layout/HorizontalOrganizationChart"/>
    <dgm:cxn modelId="{8B1A48CB-672E-40D3-B5F0-22836627FDD8}" type="presOf" srcId="{96E57ED8-3178-457D-B5DF-564626FC8A2C}" destId="{7F130522-5CF3-46F2-84EC-E6321C36B5B4}" srcOrd="0" destOrd="0" presId="urn:microsoft.com/office/officeart/2009/3/layout/HorizontalOrganizationChart"/>
    <dgm:cxn modelId="{48DD6DCD-35BA-43F5-A603-CCD09F02C667}" type="presOf" srcId="{6D7D9EE0-4586-4279-8133-8F5CC06E314D}" destId="{4C2D4052-499D-451F-812C-CAFF92F90A10}" srcOrd="1" destOrd="0" presId="urn:microsoft.com/office/officeart/2009/3/layout/HorizontalOrganizationChart"/>
    <dgm:cxn modelId="{D0C5F4E9-E0AC-499A-8890-5651BF8D4D86}" type="presOf" srcId="{F03956BD-B884-497D-AB57-C80B425F4DF3}" destId="{B58682A2-662E-4F97-BC50-5C9C9F2F8748}" srcOrd="0" destOrd="0" presId="urn:microsoft.com/office/officeart/2009/3/layout/HorizontalOrganizationChart"/>
    <dgm:cxn modelId="{7937FBE9-7D63-4577-80DB-9043DE3ED8F4}" type="presOf" srcId="{556AC703-E97C-4466-BCDC-1A40F6616572}" destId="{42F94E54-D1FD-4F56-861F-FCDF181838E0}" srcOrd="0" destOrd="0" presId="urn:microsoft.com/office/officeart/2009/3/layout/HorizontalOrganizationChart"/>
    <dgm:cxn modelId="{74EB76EA-1400-474B-80D8-F881325F12E7}" type="presOf" srcId="{29EDBA1B-9DB7-4AC8-929B-8091038290CB}" destId="{E869B647-AEFA-4D6E-8C36-1E01FE335448}" srcOrd="1" destOrd="0" presId="urn:microsoft.com/office/officeart/2009/3/layout/HorizontalOrganizationChart"/>
    <dgm:cxn modelId="{FD1CF7D0-C75F-4BD0-BDC6-F520547972EC}" type="presParOf" srcId="{EB89AAAF-C48C-4E97-B12D-5858720ABC64}" destId="{84FCBED1-1A86-41C0-9C57-49CFA54779DB}" srcOrd="0" destOrd="0" presId="urn:microsoft.com/office/officeart/2009/3/layout/HorizontalOrganizationChart"/>
    <dgm:cxn modelId="{F389ED79-4CF9-465B-A16F-79AAD6D24643}" type="presParOf" srcId="{84FCBED1-1A86-41C0-9C57-49CFA54779DB}" destId="{0DC089CA-27A0-44EC-A4A9-5E116CCD236D}" srcOrd="0" destOrd="0" presId="urn:microsoft.com/office/officeart/2009/3/layout/HorizontalOrganizationChart"/>
    <dgm:cxn modelId="{81451149-C5B6-45D9-8068-5FD6B26A53A6}" type="presParOf" srcId="{0DC089CA-27A0-44EC-A4A9-5E116CCD236D}" destId="{02DABB09-882D-4600-B9BB-A9F5B0CFA8A2}" srcOrd="0" destOrd="0" presId="urn:microsoft.com/office/officeart/2009/3/layout/HorizontalOrganizationChart"/>
    <dgm:cxn modelId="{65A3C7EA-B5C2-453C-8387-5F08782B8ED1}" type="presParOf" srcId="{0DC089CA-27A0-44EC-A4A9-5E116CCD236D}" destId="{90F0A0A0-9BE7-4380-BE30-479BE9CCFFFC}" srcOrd="1" destOrd="0" presId="urn:microsoft.com/office/officeart/2009/3/layout/HorizontalOrganizationChart"/>
    <dgm:cxn modelId="{461C0AB7-D8B3-4355-9B88-370619C5126A}" type="presParOf" srcId="{84FCBED1-1A86-41C0-9C57-49CFA54779DB}" destId="{76051CF7-F39B-4F82-A538-F818CEA8F637}" srcOrd="1" destOrd="0" presId="urn:microsoft.com/office/officeart/2009/3/layout/HorizontalOrganizationChart"/>
    <dgm:cxn modelId="{142EC71B-FE86-40EC-8080-2CB10114C9E8}" type="presParOf" srcId="{76051CF7-F39B-4F82-A538-F818CEA8F637}" destId="{C078C89A-A479-4B57-BF60-06ACDC376E28}" srcOrd="0" destOrd="0" presId="urn:microsoft.com/office/officeart/2009/3/layout/HorizontalOrganizationChart"/>
    <dgm:cxn modelId="{1EB751A8-F3E1-468E-B1AB-FE9130912229}" type="presParOf" srcId="{76051CF7-F39B-4F82-A538-F818CEA8F637}" destId="{2241C8AD-FEAD-4056-82B0-871E4D491142}" srcOrd="1" destOrd="0" presId="urn:microsoft.com/office/officeart/2009/3/layout/HorizontalOrganizationChart"/>
    <dgm:cxn modelId="{177A5B7F-5B60-4513-8FA1-036380195DC8}" type="presParOf" srcId="{2241C8AD-FEAD-4056-82B0-871E4D491142}" destId="{1FB382DB-238A-413A-925C-4B70ADBB1BFA}" srcOrd="0" destOrd="0" presId="urn:microsoft.com/office/officeart/2009/3/layout/HorizontalOrganizationChart"/>
    <dgm:cxn modelId="{A0A7BDF9-ED73-4A91-8E5F-ADA2DC8DA704}" type="presParOf" srcId="{1FB382DB-238A-413A-925C-4B70ADBB1BFA}" destId="{99AC3F2E-BB39-4935-80A3-3772B456C6A4}" srcOrd="0" destOrd="0" presId="urn:microsoft.com/office/officeart/2009/3/layout/HorizontalOrganizationChart"/>
    <dgm:cxn modelId="{B026C718-2A94-4A52-B211-5A3D7D8DCF97}" type="presParOf" srcId="{1FB382DB-238A-413A-925C-4B70ADBB1BFA}" destId="{887E8DE5-CFA0-4B1C-94EF-E197AFE3BFF8}" srcOrd="1" destOrd="0" presId="urn:microsoft.com/office/officeart/2009/3/layout/HorizontalOrganizationChart"/>
    <dgm:cxn modelId="{13ED8F55-EB1E-4488-BBA1-A1156C7D9030}" type="presParOf" srcId="{2241C8AD-FEAD-4056-82B0-871E4D491142}" destId="{25F74729-3F48-4377-A478-B8631AE17926}" srcOrd="1" destOrd="0" presId="urn:microsoft.com/office/officeart/2009/3/layout/HorizontalOrganizationChart"/>
    <dgm:cxn modelId="{5129398A-8FB0-484E-BE6E-8AB81E7AEE56}" type="presParOf" srcId="{25F74729-3F48-4377-A478-B8631AE17926}" destId="{B58682A2-662E-4F97-BC50-5C9C9F2F8748}" srcOrd="0" destOrd="0" presId="urn:microsoft.com/office/officeart/2009/3/layout/HorizontalOrganizationChart"/>
    <dgm:cxn modelId="{14AD930E-D924-427F-A5B6-488DC928956C}" type="presParOf" srcId="{25F74729-3F48-4377-A478-B8631AE17926}" destId="{E3BD1AFE-5BAB-4DD7-AD27-2B9DE0E83794}" srcOrd="1" destOrd="0" presId="urn:microsoft.com/office/officeart/2009/3/layout/HorizontalOrganizationChart"/>
    <dgm:cxn modelId="{9A7D4CBF-A8AA-43DC-970F-0F46777A1FE7}" type="presParOf" srcId="{E3BD1AFE-5BAB-4DD7-AD27-2B9DE0E83794}" destId="{70BDF660-36FA-4E85-BB5B-BB6FB9C5713D}" srcOrd="0" destOrd="0" presId="urn:microsoft.com/office/officeart/2009/3/layout/HorizontalOrganizationChart"/>
    <dgm:cxn modelId="{2DA1AEDA-671E-43DF-BF40-3A9FCD21374A}" type="presParOf" srcId="{70BDF660-36FA-4E85-BB5B-BB6FB9C5713D}" destId="{FA727DDA-AC4F-4C1C-9AEB-8C5C24DB4383}" srcOrd="0" destOrd="0" presId="urn:microsoft.com/office/officeart/2009/3/layout/HorizontalOrganizationChart"/>
    <dgm:cxn modelId="{666B9FE5-824A-4021-AA57-33064BEB1A6B}" type="presParOf" srcId="{70BDF660-36FA-4E85-BB5B-BB6FB9C5713D}" destId="{E869B647-AEFA-4D6E-8C36-1E01FE335448}" srcOrd="1" destOrd="0" presId="urn:microsoft.com/office/officeart/2009/3/layout/HorizontalOrganizationChart"/>
    <dgm:cxn modelId="{F775148A-A248-45D8-955A-61324AC814AC}" type="presParOf" srcId="{E3BD1AFE-5BAB-4DD7-AD27-2B9DE0E83794}" destId="{9F913B75-66F5-4870-8CD6-5F7B9C56F074}" srcOrd="1" destOrd="0" presId="urn:microsoft.com/office/officeart/2009/3/layout/HorizontalOrganizationChart"/>
    <dgm:cxn modelId="{BA25BA6D-228F-40B4-9C89-5CC18E27F1BB}" type="presParOf" srcId="{E3BD1AFE-5BAB-4DD7-AD27-2B9DE0E83794}" destId="{68102027-F83A-41A8-B969-C083B2739BDE}" srcOrd="2" destOrd="0" presId="urn:microsoft.com/office/officeart/2009/3/layout/HorizontalOrganizationChart"/>
    <dgm:cxn modelId="{F0070DC7-2748-4C5D-BE85-48F70331E71D}" type="presParOf" srcId="{2241C8AD-FEAD-4056-82B0-871E4D491142}" destId="{FA59050E-34F1-4A3B-BD5B-4FAA6AFDE8A6}" srcOrd="2" destOrd="0" presId="urn:microsoft.com/office/officeart/2009/3/layout/HorizontalOrganizationChart"/>
    <dgm:cxn modelId="{EEEA3D5F-21B9-4461-BB88-84EBD225D83C}" type="presParOf" srcId="{76051CF7-F39B-4F82-A538-F818CEA8F637}" destId="{7F130522-5CF3-46F2-84EC-E6321C36B5B4}" srcOrd="2" destOrd="0" presId="urn:microsoft.com/office/officeart/2009/3/layout/HorizontalOrganizationChart"/>
    <dgm:cxn modelId="{37879FB5-D9FD-4015-BC39-4D65C8815838}" type="presParOf" srcId="{76051CF7-F39B-4F82-A538-F818CEA8F637}" destId="{597A28EC-A5AA-4570-8757-033A8C9ACE63}" srcOrd="3" destOrd="0" presId="urn:microsoft.com/office/officeart/2009/3/layout/HorizontalOrganizationChart"/>
    <dgm:cxn modelId="{F662A064-139A-4B97-B256-06802D4F13C2}" type="presParOf" srcId="{597A28EC-A5AA-4570-8757-033A8C9ACE63}" destId="{3668C5DF-37C1-4E31-97E8-F43338CA2B9E}" srcOrd="0" destOrd="0" presId="urn:microsoft.com/office/officeart/2009/3/layout/HorizontalOrganizationChart"/>
    <dgm:cxn modelId="{5648AA97-0B56-4FD5-92BD-804B24E1B300}" type="presParOf" srcId="{3668C5DF-37C1-4E31-97E8-F43338CA2B9E}" destId="{4CF5E6DE-FD99-41D4-9463-240DB67E76D9}" srcOrd="0" destOrd="0" presId="urn:microsoft.com/office/officeart/2009/3/layout/HorizontalOrganizationChart"/>
    <dgm:cxn modelId="{ADC4DA55-FEF2-4AE8-854D-18AEC789C451}" type="presParOf" srcId="{3668C5DF-37C1-4E31-97E8-F43338CA2B9E}" destId="{1BC05D25-B55E-49B6-9B1B-5F6AEB3827BB}" srcOrd="1" destOrd="0" presId="urn:microsoft.com/office/officeart/2009/3/layout/HorizontalOrganizationChart"/>
    <dgm:cxn modelId="{C9412085-0506-4BF7-AC68-6026B02EFA33}" type="presParOf" srcId="{597A28EC-A5AA-4570-8757-033A8C9ACE63}" destId="{B6D2EFE1-393B-453F-A8FF-CF98750F21BE}" srcOrd="1" destOrd="0" presId="urn:microsoft.com/office/officeart/2009/3/layout/HorizontalOrganizationChart"/>
    <dgm:cxn modelId="{4F227A50-4FCC-4DBF-9208-F16435E84530}" type="presParOf" srcId="{B6D2EFE1-393B-453F-A8FF-CF98750F21BE}" destId="{FEC7561F-6F5A-415F-821B-B1FD309F1B57}" srcOrd="0" destOrd="0" presId="urn:microsoft.com/office/officeart/2009/3/layout/HorizontalOrganizationChart"/>
    <dgm:cxn modelId="{7ABF9158-12D5-4C82-930B-D22B0287DCCB}" type="presParOf" srcId="{B6D2EFE1-393B-453F-A8FF-CF98750F21BE}" destId="{C7BB65DC-C6A5-4605-8879-CCD4D903598A}" srcOrd="1" destOrd="0" presId="urn:microsoft.com/office/officeart/2009/3/layout/HorizontalOrganizationChart"/>
    <dgm:cxn modelId="{BFD984E4-6074-4150-A983-90573B2C9061}" type="presParOf" srcId="{C7BB65DC-C6A5-4605-8879-CCD4D903598A}" destId="{592E30E8-F4EE-4E35-8CB5-C2F7DA37808A}" srcOrd="0" destOrd="0" presId="urn:microsoft.com/office/officeart/2009/3/layout/HorizontalOrganizationChart"/>
    <dgm:cxn modelId="{091B0ACB-EB26-4777-9352-36F967671E01}" type="presParOf" srcId="{592E30E8-F4EE-4E35-8CB5-C2F7DA37808A}" destId="{3CCE6814-EA49-4E30-8E62-A558F44A8BEF}" srcOrd="0" destOrd="0" presId="urn:microsoft.com/office/officeart/2009/3/layout/HorizontalOrganizationChart"/>
    <dgm:cxn modelId="{15448D49-5C9B-4125-A733-D84E75B7D560}" type="presParOf" srcId="{592E30E8-F4EE-4E35-8CB5-C2F7DA37808A}" destId="{1F003AEA-1E62-4F7D-B247-FF392948E18E}" srcOrd="1" destOrd="0" presId="urn:microsoft.com/office/officeart/2009/3/layout/HorizontalOrganizationChart"/>
    <dgm:cxn modelId="{F4904E67-044D-4304-8FC1-846F5C533CDB}" type="presParOf" srcId="{C7BB65DC-C6A5-4605-8879-CCD4D903598A}" destId="{0B082972-F473-434C-991A-64BAC418D76B}" srcOrd="1" destOrd="0" presId="urn:microsoft.com/office/officeart/2009/3/layout/HorizontalOrganizationChart"/>
    <dgm:cxn modelId="{A15BE460-46B7-472C-A031-378451613120}" type="presParOf" srcId="{C7BB65DC-C6A5-4605-8879-CCD4D903598A}" destId="{524FEA5F-4B04-4143-BB74-A58B2A94CC06}" srcOrd="2" destOrd="0" presId="urn:microsoft.com/office/officeart/2009/3/layout/HorizontalOrganizationChart"/>
    <dgm:cxn modelId="{C176A5B1-EA4B-499F-9598-C57B23491BD3}" type="presParOf" srcId="{597A28EC-A5AA-4570-8757-033A8C9ACE63}" destId="{ABAF4990-CAA0-433E-9F29-0F601B56F5B8}" srcOrd="2" destOrd="0" presId="urn:microsoft.com/office/officeart/2009/3/layout/HorizontalOrganizationChart"/>
    <dgm:cxn modelId="{4FDD3A69-4B2E-47B1-89EF-8EC486412F10}" type="presParOf" srcId="{76051CF7-F39B-4F82-A538-F818CEA8F637}" destId="{B90D98DA-0B67-4500-96E3-1752BB654830}" srcOrd="4" destOrd="0" presId="urn:microsoft.com/office/officeart/2009/3/layout/HorizontalOrganizationChart"/>
    <dgm:cxn modelId="{915A43B6-0B6F-439A-870B-1FF032D2297A}" type="presParOf" srcId="{76051CF7-F39B-4F82-A538-F818CEA8F637}" destId="{723BA073-EB7C-4866-A263-0CE08C85B37A}" srcOrd="5" destOrd="0" presId="urn:microsoft.com/office/officeart/2009/3/layout/HorizontalOrganizationChart"/>
    <dgm:cxn modelId="{8D94C9CF-DA3E-423D-A1D2-AED87842081F}" type="presParOf" srcId="{723BA073-EB7C-4866-A263-0CE08C85B37A}" destId="{A0CAFCB3-2FC7-4ED6-BFBB-E5922E01AF8F}" srcOrd="0" destOrd="0" presId="urn:microsoft.com/office/officeart/2009/3/layout/HorizontalOrganizationChart"/>
    <dgm:cxn modelId="{E8F35965-32E0-4C3E-96EF-0FEF61E35F30}" type="presParOf" srcId="{A0CAFCB3-2FC7-4ED6-BFBB-E5922E01AF8F}" destId="{42F94E54-D1FD-4F56-861F-FCDF181838E0}" srcOrd="0" destOrd="0" presId="urn:microsoft.com/office/officeart/2009/3/layout/HorizontalOrganizationChart"/>
    <dgm:cxn modelId="{7ADB6B45-0DD1-45A4-9DFF-B7A6CE6AD46C}" type="presParOf" srcId="{A0CAFCB3-2FC7-4ED6-BFBB-E5922E01AF8F}" destId="{76D560B4-1256-4B8E-A294-DDB1323B0306}" srcOrd="1" destOrd="0" presId="urn:microsoft.com/office/officeart/2009/3/layout/HorizontalOrganizationChart"/>
    <dgm:cxn modelId="{B98C8544-61EA-4D6F-B851-B3CF6C2BC6A2}" type="presParOf" srcId="{723BA073-EB7C-4866-A263-0CE08C85B37A}" destId="{4D3FA225-2E0D-47AC-AC09-13FAD1BAD598}" srcOrd="1" destOrd="0" presId="urn:microsoft.com/office/officeart/2009/3/layout/HorizontalOrganizationChart"/>
    <dgm:cxn modelId="{3E8E97CB-93BF-471E-86D7-2D5B5C3803F2}" type="presParOf" srcId="{4D3FA225-2E0D-47AC-AC09-13FAD1BAD598}" destId="{8F7711CE-4F48-4D40-88B3-877836B0124B}" srcOrd="0" destOrd="0" presId="urn:microsoft.com/office/officeart/2009/3/layout/HorizontalOrganizationChart"/>
    <dgm:cxn modelId="{3AF72544-8936-4713-87F1-A9D37B49CEC0}" type="presParOf" srcId="{4D3FA225-2E0D-47AC-AC09-13FAD1BAD598}" destId="{21EB571A-15B4-42C8-AB95-913900DD90BE}" srcOrd="1" destOrd="0" presId="urn:microsoft.com/office/officeart/2009/3/layout/HorizontalOrganizationChart"/>
    <dgm:cxn modelId="{7A0B50BE-21F1-4971-8A5C-DD1858904D3F}" type="presParOf" srcId="{21EB571A-15B4-42C8-AB95-913900DD90BE}" destId="{F1B87D12-7D6A-4DF4-B6F1-EB0A02D9D5C2}" srcOrd="0" destOrd="0" presId="urn:microsoft.com/office/officeart/2009/3/layout/HorizontalOrganizationChart"/>
    <dgm:cxn modelId="{E9CDCA6B-41A2-453B-94CD-246B9A5B8614}" type="presParOf" srcId="{F1B87D12-7D6A-4DF4-B6F1-EB0A02D9D5C2}" destId="{30BF66DE-7D0C-442C-BEB5-3CB71905DFF6}" srcOrd="0" destOrd="0" presId="urn:microsoft.com/office/officeart/2009/3/layout/HorizontalOrganizationChart"/>
    <dgm:cxn modelId="{3F48A0AB-C364-4629-9C90-D4D635AC0BB2}" type="presParOf" srcId="{F1B87D12-7D6A-4DF4-B6F1-EB0A02D9D5C2}" destId="{4C2D4052-499D-451F-812C-CAFF92F90A10}" srcOrd="1" destOrd="0" presId="urn:microsoft.com/office/officeart/2009/3/layout/HorizontalOrganizationChart"/>
    <dgm:cxn modelId="{3B7B371B-8546-41A4-8B81-94DA1E2EA566}" type="presParOf" srcId="{21EB571A-15B4-42C8-AB95-913900DD90BE}" destId="{C0195675-8095-4BA9-BE35-B552DE966599}" srcOrd="1" destOrd="0" presId="urn:microsoft.com/office/officeart/2009/3/layout/HorizontalOrganizationChart"/>
    <dgm:cxn modelId="{C701C0AD-BAC8-40F4-AEDE-A3F2E3E515B2}" type="presParOf" srcId="{21EB571A-15B4-42C8-AB95-913900DD90BE}" destId="{874EE9EB-25C7-4C8A-9BF5-3AF2823BA734}" srcOrd="2" destOrd="0" presId="urn:microsoft.com/office/officeart/2009/3/layout/HorizontalOrganizationChart"/>
    <dgm:cxn modelId="{8164DB97-1EC7-468E-A167-5B138F02C076}" type="presParOf" srcId="{4D3FA225-2E0D-47AC-AC09-13FAD1BAD598}" destId="{9B42B5E7-83FA-4032-B44B-68E30B4814DF}" srcOrd="2" destOrd="0" presId="urn:microsoft.com/office/officeart/2009/3/layout/HorizontalOrganizationChart"/>
    <dgm:cxn modelId="{43ECE3A2-4CB5-4E2E-86EE-6290A83840B9}" type="presParOf" srcId="{4D3FA225-2E0D-47AC-AC09-13FAD1BAD598}" destId="{6A8C2E20-8984-4E6E-A248-3D6AB579CE45}" srcOrd="3" destOrd="0" presId="urn:microsoft.com/office/officeart/2009/3/layout/HorizontalOrganizationChart"/>
    <dgm:cxn modelId="{564AE3E8-77BC-4F93-B09A-29DE127E655F}" type="presParOf" srcId="{6A8C2E20-8984-4E6E-A248-3D6AB579CE45}" destId="{032D7B36-A801-4102-911B-2721A85717AB}" srcOrd="0" destOrd="0" presId="urn:microsoft.com/office/officeart/2009/3/layout/HorizontalOrganizationChart"/>
    <dgm:cxn modelId="{67E6E711-769E-4AE5-BD33-0EA2802A8A1F}" type="presParOf" srcId="{032D7B36-A801-4102-911B-2721A85717AB}" destId="{C46B2D1F-C47C-43EA-952D-04A7A95DC80A}" srcOrd="0" destOrd="0" presId="urn:microsoft.com/office/officeart/2009/3/layout/HorizontalOrganizationChart"/>
    <dgm:cxn modelId="{028592B3-2CBE-446E-8A14-4AED341AC5C3}" type="presParOf" srcId="{032D7B36-A801-4102-911B-2721A85717AB}" destId="{2C013D15-AC74-4BF0-8253-66B39A4B1985}" srcOrd="1" destOrd="0" presId="urn:microsoft.com/office/officeart/2009/3/layout/HorizontalOrganizationChart"/>
    <dgm:cxn modelId="{A2B994B5-4365-46A4-AAA2-F3EF90DE40F6}" type="presParOf" srcId="{6A8C2E20-8984-4E6E-A248-3D6AB579CE45}" destId="{27840838-BD37-4D13-BD27-1AB82BF1A5F9}" srcOrd="1" destOrd="0" presId="urn:microsoft.com/office/officeart/2009/3/layout/HorizontalOrganizationChart"/>
    <dgm:cxn modelId="{6CC35249-B6E9-4516-8B47-590918D72ED6}" type="presParOf" srcId="{6A8C2E20-8984-4E6E-A248-3D6AB579CE45}" destId="{8DF0F7A9-AA51-4D62-A857-CFCDB726BA5D}" srcOrd="2" destOrd="0" presId="urn:microsoft.com/office/officeart/2009/3/layout/HorizontalOrganizationChart"/>
    <dgm:cxn modelId="{60682AC3-4921-4709-A16A-0425D60CE786}" type="presParOf" srcId="{723BA073-EB7C-4866-A263-0CE08C85B37A}" destId="{E39B066C-54BC-48E5-90A6-6FF9DA64DEFE}" srcOrd="2" destOrd="0" presId="urn:microsoft.com/office/officeart/2009/3/layout/HorizontalOrganizationChart"/>
    <dgm:cxn modelId="{5DB45DD8-1001-42D6-9BE3-FEFA418E40AE}" type="presParOf" srcId="{84FCBED1-1A86-41C0-9C57-49CFA54779DB}" destId="{05DA2321-D19C-41D3-AE81-E1FCACA72643}" srcOrd="2" destOrd="0" presId="urn:microsoft.com/office/officeart/2009/3/layout/HorizontalOrganizationChart"/>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7074AF-08A2-4EFA-878E-6165F41C3259}">
      <dsp:nvSpPr>
        <dsp:cNvPr id="0" name=""/>
        <dsp:cNvSpPr/>
      </dsp:nvSpPr>
      <dsp:spPr>
        <a:xfrm>
          <a:off x="5104589" y="3626125"/>
          <a:ext cx="463816" cy="997205"/>
        </a:xfrm>
        <a:custGeom>
          <a:avLst/>
          <a:gdLst/>
          <a:ahLst/>
          <a:cxnLst/>
          <a:rect l="0" t="0" r="0" b="0"/>
          <a:pathLst>
            <a:path>
              <a:moveTo>
                <a:pt x="0" y="0"/>
              </a:moveTo>
              <a:lnTo>
                <a:pt x="231908" y="0"/>
              </a:lnTo>
              <a:lnTo>
                <a:pt x="231908" y="997205"/>
              </a:lnTo>
              <a:lnTo>
                <a:pt x="463816" y="997205"/>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9E6FE4-2252-48EF-ADDE-702476BBFA74}">
      <dsp:nvSpPr>
        <dsp:cNvPr id="0" name=""/>
        <dsp:cNvSpPr/>
      </dsp:nvSpPr>
      <dsp:spPr>
        <a:xfrm>
          <a:off x="5104589" y="3580405"/>
          <a:ext cx="463816" cy="91440"/>
        </a:xfrm>
        <a:custGeom>
          <a:avLst/>
          <a:gdLst/>
          <a:ahLst/>
          <a:cxnLst/>
          <a:rect l="0" t="0" r="0" b="0"/>
          <a:pathLst>
            <a:path>
              <a:moveTo>
                <a:pt x="0" y="45720"/>
              </a:moveTo>
              <a:lnTo>
                <a:pt x="463816" y="45720"/>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7711CE-4F48-4D40-88B3-877836B0124B}">
      <dsp:nvSpPr>
        <dsp:cNvPr id="0" name=""/>
        <dsp:cNvSpPr/>
      </dsp:nvSpPr>
      <dsp:spPr>
        <a:xfrm>
          <a:off x="5104589" y="2628919"/>
          <a:ext cx="463816" cy="997205"/>
        </a:xfrm>
        <a:custGeom>
          <a:avLst/>
          <a:gdLst/>
          <a:ahLst/>
          <a:cxnLst/>
          <a:rect l="0" t="0" r="0" b="0"/>
          <a:pathLst>
            <a:path>
              <a:moveTo>
                <a:pt x="0" y="997205"/>
              </a:moveTo>
              <a:lnTo>
                <a:pt x="231908" y="997205"/>
              </a:lnTo>
              <a:lnTo>
                <a:pt x="231908" y="0"/>
              </a:lnTo>
              <a:lnTo>
                <a:pt x="463816" y="0"/>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8EF947-DDEC-4904-B3A9-16CDB2264BC4}">
      <dsp:nvSpPr>
        <dsp:cNvPr id="0" name=""/>
        <dsp:cNvSpPr/>
      </dsp:nvSpPr>
      <dsp:spPr>
        <a:xfrm>
          <a:off x="2321689" y="2130316"/>
          <a:ext cx="463816" cy="1495808"/>
        </a:xfrm>
        <a:custGeom>
          <a:avLst/>
          <a:gdLst/>
          <a:ahLst/>
          <a:cxnLst/>
          <a:rect l="0" t="0" r="0" b="0"/>
          <a:pathLst>
            <a:path>
              <a:moveTo>
                <a:pt x="0" y="0"/>
              </a:moveTo>
              <a:lnTo>
                <a:pt x="231908" y="0"/>
              </a:lnTo>
              <a:lnTo>
                <a:pt x="231908" y="1495808"/>
              </a:lnTo>
              <a:lnTo>
                <a:pt x="463816" y="1495808"/>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1A08C8-C501-4C4C-AD64-AAE6BF2C4666}">
      <dsp:nvSpPr>
        <dsp:cNvPr id="0" name=""/>
        <dsp:cNvSpPr/>
      </dsp:nvSpPr>
      <dsp:spPr>
        <a:xfrm>
          <a:off x="7887489" y="1631713"/>
          <a:ext cx="463816" cy="498602"/>
        </a:xfrm>
        <a:custGeom>
          <a:avLst/>
          <a:gdLst/>
          <a:ahLst/>
          <a:cxnLst/>
          <a:rect l="0" t="0" r="0" b="0"/>
          <a:pathLst>
            <a:path>
              <a:moveTo>
                <a:pt x="0" y="0"/>
              </a:moveTo>
              <a:lnTo>
                <a:pt x="231908" y="0"/>
              </a:lnTo>
              <a:lnTo>
                <a:pt x="231908" y="498602"/>
              </a:lnTo>
              <a:lnTo>
                <a:pt x="463816" y="498602"/>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0C2A93-3B40-4DCB-85D3-C2304E2225E3}">
      <dsp:nvSpPr>
        <dsp:cNvPr id="0" name=""/>
        <dsp:cNvSpPr/>
      </dsp:nvSpPr>
      <dsp:spPr>
        <a:xfrm>
          <a:off x="7887489" y="1133110"/>
          <a:ext cx="463816" cy="498602"/>
        </a:xfrm>
        <a:custGeom>
          <a:avLst/>
          <a:gdLst/>
          <a:ahLst/>
          <a:cxnLst/>
          <a:rect l="0" t="0" r="0" b="0"/>
          <a:pathLst>
            <a:path>
              <a:moveTo>
                <a:pt x="0" y="498602"/>
              </a:moveTo>
              <a:lnTo>
                <a:pt x="231908" y="498602"/>
              </a:lnTo>
              <a:lnTo>
                <a:pt x="231908" y="0"/>
              </a:lnTo>
              <a:lnTo>
                <a:pt x="463816" y="0"/>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C7561F-6F5A-415F-821B-B1FD309F1B57}">
      <dsp:nvSpPr>
        <dsp:cNvPr id="0" name=""/>
        <dsp:cNvSpPr/>
      </dsp:nvSpPr>
      <dsp:spPr>
        <a:xfrm>
          <a:off x="5104589" y="1585993"/>
          <a:ext cx="463816" cy="91440"/>
        </a:xfrm>
        <a:custGeom>
          <a:avLst/>
          <a:gdLst/>
          <a:ahLst/>
          <a:cxnLst/>
          <a:rect l="0" t="0" r="0" b="0"/>
          <a:pathLst>
            <a:path>
              <a:moveTo>
                <a:pt x="0" y="45720"/>
              </a:moveTo>
              <a:lnTo>
                <a:pt x="463816" y="45720"/>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130522-5CF3-46F2-84EC-E6321C36B5B4}">
      <dsp:nvSpPr>
        <dsp:cNvPr id="0" name=""/>
        <dsp:cNvSpPr/>
      </dsp:nvSpPr>
      <dsp:spPr>
        <a:xfrm>
          <a:off x="2321689" y="1631713"/>
          <a:ext cx="463816" cy="498602"/>
        </a:xfrm>
        <a:custGeom>
          <a:avLst/>
          <a:gdLst/>
          <a:ahLst/>
          <a:cxnLst/>
          <a:rect l="0" t="0" r="0" b="0"/>
          <a:pathLst>
            <a:path>
              <a:moveTo>
                <a:pt x="0" y="498602"/>
              </a:moveTo>
              <a:lnTo>
                <a:pt x="231908" y="498602"/>
              </a:lnTo>
              <a:lnTo>
                <a:pt x="231908" y="0"/>
              </a:lnTo>
              <a:lnTo>
                <a:pt x="463816" y="0"/>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8682A2-662E-4F97-BC50-5C9C9F2F8748}">
      <dsp:nvSpPr>
        <dsp:cNvPr id="0" name=""/>
        <dsp:cNvSpPr/>
      </dsp:nvSpPr>
      <dsp:spPr>
        <a:xfrm>
          <a:off x="5104589" y="588787"/>
          <a:ext cx="463816" cy="91440"/>
        </a:xfrm>
        <a:custGeom>
          <a:avLst/>
          <a:gdLst/>
          <a:ahLst/>
          <a:cxnLst/>
          <a:rect l="0" t="0" r="0" b="0"/>
          <a:pathLst>
            <a:path>
              <a:moveTo>
                <a:pt x="0" y="45720"/>
              </a:moveTo>
              <a:lnTo>
                <a:pt x="463816" y="45720"/>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078C89A-A479-4B57-BF60-06ACDC376E28}">
      <dsp:nvSpPr>
        <dsp:cNvPr id="0" name=""/>
        <dsp:cNvSpPr/>
      </dsp:nvSpPr>
      <dsp:spPr>
        <a:xfrm>
          <a:off x="2321689" y="634507"/>
          <a:ext cx="463816" cy="1495808"/>
        </a:xfrm>
        <a:custGeom>
          <a:avLst/>
          <a:gdLst/>
          <a:ahLst/>
          <a:cxnLst/>
          <a:rect l="0" t="0" r="0" b="0"/>
          <a:pathLst>
            <a:path>
              <a:moveTo>
                <a:pt x="0" y="1495808"/>
              </a:moveTo>
              <a:lnTo>
                <a:pt x="231908" y="1495808"/>
              </a:lnTo>
              <a:lnTo>
                <a:pt x="231908" y="0"/>
              </a:lnTo>
              <a:lnTo>
                <a:pt x="463816" y="0"/>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DABB09-882D-4600-B9BB-A9F5B0CFA8A2}">
      <dsp:nvSpPr>
        <dsp:cNvPr id="0" name=""/>
        <dsp:cNvSpPr/>
      </dsp:nvSpPr>
      <dsp:spPr>
        <a:xfrm>
          <a:off x="2605" y="1776656"/>
          <a:ext cx="2319083" cy="707320"/>
        </a:xfrm>
        <a:prstGeom prst="rect">
          <a:avLst/>
        </a:prstGeom>
        <a:solidFill>
          <a:schemeClr val="accent4">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rPr>
            <a:t>Profit After Direct Expenses</a:t>
          </a:r>
        </a:p>
      </dsp:txBody>
      <dsp:txXfrm>
        <a:off x="2605" y="1776656"/>
        <a:ext cx="2319083" cy="707320"/>
      </dsp:txXfrm>
    </dsp:sp>
    <dsp:sp modelId="{99AC3F2E-BB39-4935-80A3-3772B456C6A4}">
      <dsp:nvSpPr>
        <dsp:cNvPr id="0" name=""/>
        <dsp:cNvSpPr/>
      </dsp:nvSpPr>
      <dsp:spPr>
        <a:xfrm>
          <a:off x="2785506" y="280847"/>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Sales</a:t>
          </a:r>
        </a:p>
      </dsp:txBody>
      <dsp:txXfrm>
        <a:off x="2785506" y="280847"/>
        <a:ext cx="2319083" cy="707320"/>
      </dsp:txXfrm>
    </dsp:sp>
    <dsp:sp modelId="{FA727DDA-AC4F-4C1C-9AEB-8C5C24DB4383}">
      <dsp:nvSpPr>
        <dsp:cNvPr id="0" name=""/>
        <dsp:cNvSpPr/>
      </dsp:nvSpPr>
      <dsp:spPr>
        <a:xfrm>
          <a:off x="5568406" y="280847"/>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Productivity</a:t>
          </a:r>
        </a:p>
      </dsp:txBody>
      <dsp:txXfrm>
        <a:off x="5568406" y="280847"/>
        <a:ext cx="2319083" cy="707320"/>
      </dsp:txXfrm>
    </dsp:sp>
    <dsp:sp modelId="{4CF5E6DE-FD99-41D4-9463-240DB67E76D9}">
      <dsp:nvSpPr>
        <dsp:cNvPr id="0" name=""/>
        <dsp:cNvSpPr/>
      </dsp:nvSpPr>
      <dsp:spPr>
        <a:xfrm>
          <a:off x="2785506" y="1278053"/>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Gross Profit</a:t>
          </a:r>
        </a:p>
      </dsp:txBody>
      <dsp:txXfrm>
        <a:off x="2785506" y="1278053"/>
        <a:ext cx="2319083" cy="707320"/>
      </dsp:txXfrm>
    </dsp:sp>
    <dsp:sp modelId="{3CCE6814-EA49-4E30-8E62-A558F44A8BEF}">
      <dsp:nvSpPr>
        <dsp:cNvPr id="0" name=""/>
        <dsp:cNvSpPr/>
      </dsp:nvSpPr>
      <dsp:spPr>
        <a:xfrm>
          <a:off x="5568406" y="1278053"/>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Margin</a:t>
          </a:r>
        </a:p>
      </dsp:txBody>
      <dsp:txXfrm>
        <a:off x="5568406" y="1278053"/>
        <a:ext cx="2319083" cy="707320"/>
      </dsp:txXfrm>
    </dsp:sp>
    <dsp:sp modelId="{8BE80696-F76B-42E4-972F-D364EA97BAAB}">
      <dsp:nvSpPr>
        <dsp:cNvPr id="0" name=""/>
        <dsp:cNvSpPr/>
      </dsp:nvSpPr>
      <dsp:spPr>
        <a:xfrm>
          <a:off x="8351306" y="779450"/>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LRV – Labour Efficiency</a:t>
          </a:r>
        </a:p>
      </dsp:txBody>
      <dsp:txXfrm>
        <a:off x="8351306" y="779450"/>
        <a:ext cx="2319083" cy="707320"/>
      </dsp:txXfrm>
    </dsp:sp>
    <dsp:sp modelId="{124B14FD-F6C6-4553-A60A-0DBC1F5EA813}">
      <dsp:nvSpPr>
        <dsp:cNvPr id="0" name=""/>
        <dsp:cNvSpPr/>
      </dsp:nvSpPr>
      <dsp:spPr>
        <a:xfrm>
          <a:off x="8351306" y="1776656"/>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a:solidFill>
                <a:schemeClr val="tx1"/>
              </a:solidFill>
              <a:latin typeface="Arial Nova Cond" panose="020B0506020202020204" pitchFamily="34" charset="0"/>
              <a:ea typeface="+mn-ea"/>
              <a:cs typeface="+mn-cs"/>
            </a:rPr>
            <a:t>Overtime</a:t>
          </a:r>
          <a:endParaRPr lang="en-NZ" sz="1200" kern="1200" dirty="0">
            <a:solidFill>
              <a:schemeClr val="tx1"/>
            </a:solidFill>
            <a:latin typeface="Arial Nova Cond" panose="020B0506020202020204" pitchFamily="34" charset="0"/>
            <a:ea typeface="+mn-ea"/>
            <a:cs typeface="+mn-cs"/>
          </a:endParaRPr>
        </a:p>
      </dsp:txBody>
      <dsp:txXfrm>
        <a:off x="8351306" y="1776656"/>
        <a:ext cx="2319083" cy="707320"/>
      </dsp:txXfrm>
    </dsp:sp>
    <dsp:sp modelId="{250723BA-3BF2-4E48-A33D-89429DB29918}">
      <dsp:nvSpPr>
        <dsp:cNvPr id="0" name=""/>
        <dsp:cNvSpPr/>
      </dsp:nvSpPr>
      <dsp:spPr>
        <a:xfrm>
          <a:off x="2785506" y="3272465"/>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Expenses</a:t>
          </a:r>
        </a:p>
      </dsp:txBody>
      <dsp:txXfrm>
        <a:off x="2785506" y="3272465"/>
        <a:ext cx="2319083" cy="707320"/>
      </dsp:txXfrm>
    </dsp:sp>
    <dsp:sp modelId="{30BF66DE-7D0C-442C-BEB5-3CB71905DFF6}">
      <dsp:nvSpPr>
        <dsp:cNvPr id="0" name=""/>
        <dsp:cNvSpPr/>
      </dsp:nvSpPr>
      <dsp:spPr>
        <a:xfrm>
          <a:off x="5568406" y="2275259"/>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Personnel Expenses</a:t>
          </a:r>
        </a:p>
      </dsp:txBody>
      <dsp:txXfrm>
        <a:off x="5568406" y="2275259"/>
        <a:ext cx="2319083" cy="707320"/>
      </dsp:txXfrm>
    </dsp:sp>
    <dsp:sp modelId="{A63531AD-46A8-489F-83AC-C1A247BC2857}">
      <dsp:nvSpPr>
        <dsp:cNvPr id="0" name=""/>
        <dsp:cNvSpPr/>
      </dsp:nvSpPr>
      <dsp:spPr>
        <a:xfrm>
          <a:off x="5568406" y="3272465"/>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Vehicles</a:t>
          </a:r>
        </a:p>
      </dsp:txBody>
      <dsp:txXfrm>
        <a:off x="5568406" y="3272465"/>
        <a:ext cx="2319083" cy="707320"/>
      </dsp:txXfrm>
    </dsp:sp>
    <dsp:sp modelId="{19C710E1-ADFA-428B-80C9-3246B0E2592C}">
      <dsp:nvSpPr>
        <dsp:cNvPr id="0" name=""/>
        <dsp:cNvSpPr/>
      </dsp:nvSpPr>
      <dsp:spPr>
        <a:xfrm>
          <a:off x="5568406" y="4269671"/>
          <a:ext cx="2319083" cy="707320"/>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Goodwill &amp; Redo</a:t>
          </a:r>
        </a:p>
      </dsp:txBody>
      <dsp:txXfrm>
        <a:off x="5568406" y="4269671"/>
        <a:ext cx="2319083" cy="7073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42B5E7-83FA-4032-B44B-68E30B4814DF}">
      <dsp:nvSpPr>
        <dsp:cNvPr id="0" name=""/>
        <dsp:cNvSpPr/>
      </dsp:nvSpPr>
      <dsp:spPr>
        <a:xfrm>
          <a:off x="4060873" y="2420693"/>
          <a:ext cx="368943" cy="396614"/>
        </a:xfrm>
        <a:custGeom>
          <a:avLst/>
          <a:gdLst/>
          <a:ahLst/>
          <a:cxnLst/>
          <a:rect l="0" t="0" r="0" b="0"/>
          <a:pathLst>
            <a:path>
              <a:moveTo>
                <a:pt x="0" y="0"/>
              </a:moveTo>
              <a:lnTo>
                <a:pt x="184471" y="0"/>
              </a:lnTo>
              <a:lnTo>
                <a:pt x="184471" y="396614"/>
              </a:lnTo>
              <a:lnTo>
                <a:pt x="368943" y="396614"/>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7711CE-4F48-4D40-88B3-877836B0124B}">
      <dsp:nvSpPr>
        <dsp:cNvPr id="0" name=""/>
        <dsp:cNvSpPr/>
      </dsp:nvSpPr>
      <dsp:spPr>
        <a:xfrm>
          <a:off x="4060873" y="2024078"/>
          <a:ext cx="368943" cy="396614"/>
        </a:xfrm>
        <a:custGeom>
          <a:avLst/>
          <a:gdLst/>
          <a:ahLst/>
          <a:cxnLst/>
          <a:rect l="0" t="0" r="0" b="0"/>
          <a:pathLst>
            <a:path>
              <a:moveTo>
                <a:pt x="0" y="396614"/>
              </a:moveTo>
              <a:lnTo>
                <a:pt x="184471" y="396614"/>
              </a:lnTo>
              <a:lnTo>
                <a:pt x="184471" y="0"/>
              </a:lnTo>
              <a:lnTo>
                <a:pt x="368943" y="0"/>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90D98DA-0B67-4500-96E3-1752BB654830}">
      <dsp:nvSpPr>
        <dsp:cNvPr id="0" name=""/>
        <dsp:cNvSpPr/>
      </dsp:nvSpPr>
      <dsp:spPr>
        <a:xfrm>
          <a:off x="1847209" y="1429156"/>
          <a:ext cx="368943" cy="991536"/>
        </a:xfrm>
        <a:custGeom>
          <a:avLst/>
          <a:gdLst/>
          <a:ahLst/>
          <a:cxnLst/>
          <a:rect l="0" t="0" r="0" b="0"/>
          <a:pathLst>
            <a:path>
              <a:moveTo>
                <a:pt x="0" y="0"/>
              </a:moveTo>
              <a:lnTo>
                <a:pt x="184471" y="0"/>
              </a:lnTo>
              <a:lnTo>
                <a:pt x="184471" y="991536"/>
              </a:lnTo>
              <a:lnTo>
                <a:pt x="368943" y="991536"/>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C7561F-6F5A-415F-821B-B1FD309F1B57}">
      <dsp:nvSpPr>
        <dsp:cNvPr id="0" name=""/>
        <dsp:cNvSpPr/>
      </dsp:nvSpPr>
      <dsp:spPr>
        <a:xfrm>
          <a:off x="4060873" y="1185129"/>
          <a:ext cx="368943" cy="91440"/>
        </a:xfrm>
        <a:custGeom>
          <a:avLst/>
          <a:gdLst/>
          <a:ahLst/>
          <a:cxnLst/>
          <a:rect l="0" t="0" r="0" b="0"/>
          <a:pathLst>
            <a:path>
              <a:moveTo>
                <a:pt x="0" y="45720"/>
              </a:moveTo>
              <a:lnTo>
                <a:pt x="368943" y="45720"/>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130522-5CF3-46F2-84EC-E6321C36B5B4}">
      <dsp:nvSpPr>
        <dsp:cNvPr id="0" name=""/>
        <dsp:cNvSpPr/>
      </dsp:nvSpPr>
      <dsp:spPr>
        <a:xfrm>
          <a:off x="1847209" y="1230849"/>
          <a:ext cx="368943" cy="198307"/>
        </a:xfrm>
        <a:custGeom>
          <a:avLst/>
          <a:gdLst/>
          <a:ahLst/>
          <a:cxnLst/>
          <a:rect l="0" t="0" r="0" b="0"/>
          <a:pathLst>
            <a:path>
              <a:moveTo>
                <a:pt x="0" y="198307"/>
              </a:moveTo>
              <a:lnTo>
                <a:pt x="184471" y="198307"/>
              </a:lnTo>
              <a:lnTo>
                <a:pt x="184471" y="0"/>
              </a:lnTo>
              <a:lnTo>
                <a:pt x="368943" y="0"/>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8682A2-662E-4F97-BC50-5C9C9F2F8748}">
      <dsp:nvSpPr>
        <dsp:cNvPr id="0" name=""/>
        <dsp:cNvSpPr/>
      </dsp:nvSpPr>
      <dsp:spPr>
        <a:xfrm>
          <a:off x="4060873" y="391899"/>
          <a:ext cx="368943" cy="91440"/>
        </a:xfrm>
        <a:custGeom>
          <a:avLst/>
          <a:gdLst/>
          <a:ahLst/>
          <a:cxnLst/>
          <a:rect l="0" t="0" r="0" b="0"/>
          <a:pathLst>
            <a:path>
              <a:moveTo>
                <a:pt x="0" y="45720"/>
              </a:moveTo>
              <a:lnTo>
                <a:pt x="368943" y="45720"/>
              </a:lnTo>
            </a:path>
          </a:pathLst>
        </a:custGeom>
        <a:no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078C89A-A479-4B57-BF60-06ACDC376E28}">
      <dsp:nvSpPr>
        <dsp:cNvPr id="0" name=""/>
        <dsp:cNvSpPr/>
      </dsp:nvSpPr>
      <dsp:spPr>
        <a:xfrm>
          <a:off x="1847209" y="437619"/>
          <a:ext cx="368943" cy="991536"/>
        </a:xfrm>
        <a:custGeom>
          <a:avLst/>
          <a:gdLst/>
          <a:ahLst/>
          <a:cxnLst/>
          <a:rect l="0" t="0" r="0" b="0"/>
          <a:pathLst>
            <a:path>
              <a:moveTo>
                <a:pt x="0" y="991536"/>
              </a:moveTo>
              <a:lnTo>
                <a:pt x="184471" y="991536"/>
              </a:lnTo>
              <a:lnTo>
                <a:pt x="184471" y="0"/>
              </a:lnTo>
              <a:lnTo>
                <a:pt x="368943" y="0"/>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DABB09-882D-4600-B9BB-A9F5B0CFA8A2}">
      <dsp:nvSpPr>
        <dsp:cNvPr id="0" name=""/>
        <dsp:cNvSpPr/>
      </dsp:nvSpPr>
      <dsp:spPr>
        <a:xfrm>
          <a:off x="2490" y="1147836"/>
          <a:ext cx="1844719" cy="562639"/>
        </a:xfrm>
        <a:prstGeom prst="rect">
          <a:avLst/>
        </a:prstGeom>
        <a:solidFill>
          <a:srgbClr val="FFC0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rPr>
            <a:t>Profit After Direct Expenses</a:t>
          </a:r>
        </a:p>
      </dsp:txBody>
      <dsp:txXfrm>
        <a:off x="2490" y="1147836"/>
        <a:ext cx="1844719" cy="562639"/>
      </dsp:txXfrm>
    </dsp:sp>
    <dsp:sp modelId="{99AC3F2E-BB39-4935-80A3-3772B456C6A4}">
      <dsp:nvSpPr>
        <dsp:cNvPr id="0" name=""/>
        <dsp:cNvSpPr/>
      </dsp:nvSpPr>
      <dsp:spPr>
        <a:xfrm>
          <a:off x="2216153" y="156300"/>
          <a:ext cx="1844719" cy="562639"/>
        </a:xfrm>
        <a:prstGeom prst="rect">
          <a:avLst/>
        </a:prstGeom>
        <a:solidFill>
          <a:srgbClr val="FFC000"/>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Sales</a:t>
          </a:r>
        </a:p>
      </dsp:txBody>
      <dsp:txXfrm>
        <a:off x="2216153" y="156300"/>
        <a:ext cx="1844719" cy="562639"/>
      </dsp:txXfrm>
    </dsp:sp>
    <dsp:sp modelId="{FA727DDA-AC4F-4C1C-9AEB-8C5C24DB4383}">
      <dsp:nvSpPr>
        <dsp:cNvPr id="0" name=""/>
        <dsp:cNvSpPr/>
      </dsp:nvSpPr>
      <dsp:spPr>
        <a:xfrm>
          <a:off x="4429817" y="156300"/>
          <a:ext cx="1844719" cy="562639"/>
        </a:xfrm>
        <a:prstGeom prst="rect">
          <a:avLst/>
        </a:prstGeom>
        <a:solidFill>
          <a:srgbClr val="FFC000"/>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POPs</a:t>
          </a:r>
        </a:p>
      </dsp:txBody>
      <dsp:txXfrm>
        <a:off x="4429817" y="156300"/>
        <a:ext cx="1844719" cy="562639"/>
      </dsp:txXfrm>
    </dsp:sp>
    <dsp:sp modelId="{4CF5E6DE-FD99-41D4-9463-240DB67E76D9}">
      <dsp:nvSpPr>
        <dsp:cNvPr id="0" name=""/>
        <dsp:cNvSpPr/>
      </dsp:nvSpPr>
      <dsp:spPr>
        <a:xfrm>
          <a:off x="2216153" y="949529"/>
          <a:ext cx="1844719" cy="562639"/>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Gross Profit</a:t>
          </a:r>
        </a:p>
      </dsp:txBody>
      <dsp:txXfrm>
        <a:off x="2216153" y="949529"/>
        <a:ext cx="1844719" cy="562639"/>
      </dsp:txXfrm>
    </dsp:sp>
    <dsp:sp modelId="{3CCE6814-EA49-4E30-8E62-A558F44A8BEF}">
      <dsp:nvSpPr>
        <dsp:cNvPr id="0" name=""/>
        <dsp:cNvSpPr/>
      </dsp:nvSpPr>
      <dsp:spPr>
        <a:xfrm>
          <a:off x="4429817" y="949529"/>
          <a:ext cx="1844719" cy="562639"/>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Retail &amp; Internal Margin</a:t>
          </a:r>
        </a:p>
      </dsp:txBody>
      <dsp:txXfrm>
        <a:off x="4429817" y="949529"/>
        <a:ext cx="1844719" cy="562639"/>
      </dsp:txXfrm>
    </dsp:sp>
    <dsp:sp modelId="{42F94E54-D1FD-4F56-861F-FCDF181838E0}">
      <dsp:nvSpPr>
        <dsp:cNvPr id="0" name=""/>
        <dsp:cNvSpPr/>
      </dsp:nvSpPr>
      <dsp:spPr>
        <a:xfrm>
          <a:off x="2216153" y="2139373"/>
          <a:ext cx="1844719" cy="562639"/>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Expenses</a:t>
          </a:r>
        </a:p>
      </dsp:txBody>
      <dsp:txXfrm>
        <a:off x="2216153" y="2139373"/>
        <a:ext cx="1844719" cy="562639"/>
      </dsp:txXfrm>
    </dsp:sp>
    <dsp:sp modelId="{30BF66DE-7D0C-442C-BEB5-3CB71905DFF6}">
      <dsp:nvSpPr>
        <dsp:cNvPr id="0" name=""/>
        <dsp:cNvSpPr/>
      </dsp:nvSpPr>
      <dsp:spPr>
        <a:xfrm>
          <a:off x="4429817" y="1742758"/>
          <a:ext cx="1844719" cy="562639"/>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Personnel Expenses</a:t>
          </a:r>
        </a:p>
      </dsp:txBody>
      <dsp:txXfrm>
        <a:off x="4429817" y="1742758"/>
        <a:ext cx="1844719" cy="562639"/>
      </dsp:txXfrm>
    </dsp:sp>
    <dsp:sp modelId="{C46B2D1F-C47C-43EA-952D-04A7A95DC80A}">
      <dsp:nvSpPr>
        <dsp:cNvPr id="0" name=""/>
        <dsp:cNvSpPr/>
      </dsp:nvSpPr>
      <dsp:spPr>
        <a:xfrm>
          <a:off x="4429817" y="2535988"/>
          <a:ext cx="1844719" cy="562639"/>
        </a:xfrm>
        <a:prstGeom prst="rect">
          <a:avLst/>
        </a:prstGeom>
        <a:solidFill>
          <a:srgbClr val="FFC000">
            <a:hueOff val="0"/>
            <a:satOff val="0"/>
            <a:lumOff val="0"/>
            <a:alphaOff val="0"/>
          </a:srgbClr>
        </a:solidFill>
        <a:ln w="12700" cap="flat" cmpd="sng" algn="ctr">
          <a:solidFill>
            <a:prstClr val="black"/>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45" tIns="29845" rIns="29845" bIns="29845" numCol="1" spcCol="1270" anchor="ctr" anchorCtr="0">
          <a:noAutofit/>
        </a:bodyPr>
        <a:lstStyle/>
        <a:p>
          <a:pPr marL="0" lvl="0" indent="0" algn="ctr" defTabSz="533400">
            <a:lnSpc>
              <a:spcPct val="90000"/>
            </a:lnSpc>
            <a:spcBef>
              <a:spcPct val="0"/>
            </a:spcBef>
            <a:spcAft>
              <a:spcPct val="35000"/>
            </a:spcAft>
            <a:buNone/>
          </a:pPr>
          <a:r>
            <a:rPr lang="en-NZ" sz="1200" kern="1200" dirty="0">
              <a:solidFill>
                <a:schemeClr val="tx1"/>
              </a:solidFill>
              <a:latin typeface="Arial Nova Cond" panose="020B0506020202020204" pitchFamily="34" charset="0"/>
              <a:ea typeface="+mn-ea"/>
              <a:cs typeface="+mn-cs"/>
            </a:rPr>
            <a:t>Freight recovery's</a:t>
          </a:r>
        </a:p>
      </dsp:txBody>
      <dsp:txXfrm>
        <a:off x="4429817" y="2535988"/>
        <a:ext cx="1844719" cy="562639"/>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8BEBF4-3830-4E7E-BC9D-05B3071E89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0520EA55-CD79-489E-B05D-ADD86C54135D}"/>
              </a:ext>
            </a:extLst>
          </p:cNvPr>
          <p:cNvSpPr/>
          <p:nvPr userDrawn="1"/>
        </p:nvSpPr>
        <p:spPr>
          <a:xfrm>
            <a:off x="0" y="6345936"/>
            <a:ext cx="12191999" cy="51206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pic>
        <p:nvPicPr>
          <p:cNvPr id="9" name="Picture 8">
            <a:extLst>
              <a:ext uri="{FF2B5EF4-FFF2-40B4-BE49-F238E27FC236}">
                <a16:creationId xmlns:a16="http://schemas.microsoft.com/office/drawing/2014/main" id="{FB086A92-8DCE-4915-A919-241989B1A32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1178" y="1044597"/>
            <a:ext cx="3612262" cy="970796"/>
          </a:xfrm>
          <a:prstGeom prst="rect">
            <a:avLst/>
          </a:prstGeom>
        </p:spPr>
      </p:pic>
      <p:pic>
        <p:nvPicPr>
          <p:cNvPr id="5" name="Picture 4">
            <a:extLst>
              <a:ext uri="{FF2B5EF4-FFF2-40B4-BE49-F238E27FC236}">
                <a16:creationId xmlns:a16="http://schemas.microsoft.com/office/drawing/2014/main" id="{ED03A806-70EC-4496-A277-713274A88B4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7088" y="6495752"/>
            <a:ext cx="1638053" cy="215257"/>
          </a:xfrm>
          <a:prstGeom prst="rect">
            <a:avLst/>
          </a:prstGeom>
        </p:spPr>
      </p:pic>
    </p:spTree>
    <p:extLst>
      <p:ext uri="{BB962C8B-B14F-4D97-AF65-F5344CB8AC3E}">
        <p14:creationId xmlns:p14="http://schemas.microsoft.com/office/powerpoint/2010/main" val="17115936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C64790D-A673-4560-AE67-17786D579D14}"/>
              </a:ext>
            </a:extLst>
          </p:cNvPr>
          <p:cNvSpPr/>
          <p:nvPr userDrawn="1"/>
        </p:nvSpPr>
        <p:spPr>
          <a:xfrm>
            <a:off x="0" y="6345936"/>
            <a:ext cx="12191999" cy="51206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pic>
        <p:nvPicPr>
          <p:cNvPr id="8" name="Picture 7">
            <a:extLst>
              <a:ext uri="{FF2B5EF4-FFF2-40B4-BE49-F238E27FC236}">
                <a16:creationId xmlns:a16="http://schemas.microsoft.com/office/drawing/2014/main" id="{1998271A-3A29-4BB7-AF52-F2B93D6688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07039" y="6422433"/>
            <a:ext cx="1327785" cy="356842"/>
          </a:xfrm>
          <a:prstGeom prst="rect">
            <a:avLst/>
          </a:prstGeom>
        </p:spPr>
      </p:pic>
      <p:sp>
        <p:nvSpPr>
          <p:cNvPr id="9" name="TextBox 8">
            <a:extLst>
              <a:ext uri="{FF2B5EF4-FFF2-40B4-BE49-F238E27FC236}">
                <a16:creationId xmlns:a16="http://schemas.microsoft.com/office/drawing/2014/main" id="{D6E7AAE1-EA9F-4509-9E74-2DD9067305F1}"/>
              </a:ext>
            </a:extLst>
          </p:cNvPr>
          <p:cNvSpPr txBox="1"/>
          <p:nvPr userDrawn="1"/>
        </p:nvSpPr>
        <p:spPr>
          <a:xfrm>
            <a:off x="428623" y="6461551"/>
            <a:ext cx="521590" cy="276999"/>
          </a:xfrm>
          <a:prstGeom prst="rect">
            <a:avLst/>
          </a:prstGeom>
          <a:noFill/>
        </p:spPr>
        <p:txBody>
          <a:bodyPr wrap="square" rtlCol="0">
            <a:spAutoFit/>
          </a:bodyPr>
          <a:lstStyle/>
          <a:p>
            <a:fld id="{C9129B97-CFEC-480F-9F02-F1F1DBD83216}" type="slidenum">
              <a:rPr lang="en-NZ" sz="1200" smtClean="0">
                <a:solidFill>
                  <a:schemeClr val="bg1"/>
                </a:solidFill>
                <a:latin typeface="Univers" panose="020B0604020202020204" pitchFamily="34" charset="0"/>
              </a:rPr>
              <a:t>‹#›</a:t>
            </a:fld>
            <a:endParaRPr lang="en-NZ" sz="1200" b="1" dirty="0">
              <a:solidFill>
                <a:schemeClr val="bg1"/>
              </a:solidFill>
              <a:latin typeface="Univers" panose="020B0604020202020204" pitchFamily="34" charset="0"/>
            </a:endParaRPr>
          </a:p>
        </p:txBody>
      </p:sp>
      <p:pic>
        <p:nvPicPr>
          <p:cNvPr id="4" name="Picture 3">
            <a:extLst>
              <a:ext uri="{FF2B5EF4-FFF2-40B4-BE49-F238E27FC236}">
                <a16:creationId xmlns:a16="http://schemas.microsoft.com/office/drawing/2014/main" id="{BE4FB91F-98B3-4B91-9B56-DA98EAB85B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6888" y="6495752"/>
            <a:ext cx="1638053" cy="215257"/>
          </a:xfrm>
          <a:prstGeom prst="rect">
            <a:avLst/>
          </a:prstGeom>
        </p:spPr>
      </p:pic>
      <p:sp>
        <p:nvSpPr>
          <p:cNvPr id="17" name="Title 16">
            <a:extLst>
              <a:ext uri="{FF2B5EF4-FFF2-40B4-BE49-F238E27FC236}">
                <a16:creationId xmlns:a16="http://schemas.microsoft.com/office/drawing/2014/main" id="{999B26DB-1BB7-4C6A-B8F3-31EBCAFC0199}"/>
              </a:ext>
            </a:extLst>
          </p:cNvPr>
          <p:cNvSpPr>
            <a:spLocks noGrp="1"/>
          </p:cNvSpPr>
          <p:nvPr>
            <p:ph type="title" hasCustomPrompt="1"/>
          </p:nvPr>
        </p:nvSpPr>
        <p:spPr>
          <a:xfrm>
            <a:off x="435860" y="361074"/>
            <a:ext cx="11498963" cy="512064"/>
          </a:xfrm>
          <a:prstGeom prst="rect">
            <a:avLst/>
          </a:prstGeom>
        </p:spPr>
        <p:txBody>
          <a:bodyPr/>
          <a:lstStyle>
            <a:lvl1pPr>
              <a:defRPr sz="4000" b="1">
                <a:latin typeface="Univers Condensed Light" panose="020B0306020202040204" pitchFamily="34" charset="0"/>
              </a:defRPr>
            </a:lvl1pPr>
          </a:lstStyle>
          <a:p>
            <a:r>
              <a:rPr lang="en-US" dirty="0"/>
              <a:t>HEADING IN CAPS (do not move, resize, or change font)</a:t>
            </a:r>
            <a:endParaRPr lang="en-NZ" dirty="0"/>
          </a:p>
        </p:txBody>
      </p:sp>
      <p:sp>
        <p:nvSpPr>
          <p:cNvPr id="19" name="TextBox 18">
            <a:extLst>
              <a:ext uri="{FF2B5EF4-FFF2-40B4-BE49-F238E27FC236}">
                <a16:creationId xmlns:a16="http://schemas.microsoft.com/office/drawing/2014/main" id="{FCAB57FF-C632-4128-B5E2-2DC17863042F}"/>
              </a:ext>
            </a:extLst>
          </p:cNvPr>
          <p:cNvSpPr txBox="1"/>
          <p:nvPr userDrawn="1"/>
        </p:nvSpPr>
        <p:spPr>
          <a:xfrm>
            <a:off x="561974" y="2526414"/>
            <a:ext cx="11087101" cy="307777"/>
          </a:xfrm>
          <a:prstGeom prst="rect">
            <a:avLst/>
          </a:prstGeom>
          <a:noFill/>
        </p:spPr>
        <p:txBody>
          <a:bodyPr wrap="square" rtlCol="0">
            <a:spAutoFit/>
          </a:bodyPr>
          <a:lstStyle/>
          <a:p>
            <a:pPr algn="just">
              <a:spcAft>
                <a:spcPts val="600"/>
              </a:spcAft>
            </a:pPr>
            <a:endParaRPr lang="en-NZ" sz="1400" dirty="0">
              <a:latin typeface="Univers" panose="020B0604020202020204" pitchFamily="34" charset="0"/>
            </a:endParaRPr>
          </a:p>
        </p:txBody>
      </p:sp>
      <p:sp>
        <p:nvSpPr>
          <p:cNvPr id="21" name="Text Placeholder 20">
            <a:extLst>
              <a:ext uri="{FF2B5EF4-FFF2-40B4-BE49-F238E27FC236}">
                <a16:creationId xmlns:a16="http://schemas.microsoft.com/office/drawing/2014/main" id="{316C099D-340F-489D-AAFC-7D9A61A64F75}"/>
              </a:ext>
            </a:extLst>
          </p:cNvPr>
          <p:cNvSpPr>
            <a:spLocks noGrp="1"/>
          </p:cNvSpPr>
          <p:nvPr>
            <p:ph type="body" sz="quarter" idx="10" hasCustomPrompt="1"/>
          </p:nvPr>
        </p:nvSpPr>
        <p:spPr>
          <a:xfrm>
            <a:off x="561972" y="1376610"/>
            <a:ext cx="4791077" cy="646331"/>
          </a:xfrm>
          <a:prstGeom prst="rect">
            <a:avLst/>
          </a:prstGeom>
          <a:solidFill>
            <a:schemeClr val="bg1"/>
          </a:solidFill>
          <a:effectLst>
            <a:outerShdw dist="38100" dir="10800000" algn="ctr" rotWithShape="0">
              <a:srgbClr val="FFC000"/>
            </a:outerShdw>
          </a:effectLst>
        </p:spPr>
        <p:txBody>
          <a:bodyPr>
            <a:spAutoFit/>
          </a:bodyPr>
          <a:lstStyle>
            <a:lvl1pPr marL="0" marR="0" indent="0" algn="l" defTabSz="914400" rtl="0" eaLnBrk="1" fontAlgn="auto" latinLnBrk="0" hangingPunct="1">
              <a:lnSpc>
                <a:spcPct val="100000"/>
              </a:lnSpc>
              <a:spcBef>
                <a:spcPts val="0"/>
              </a:spcBef>
              <a:spcAft>
                <a:spcPts val="600"/>
              </a:spcAft>
              <a:buClrTx/>
              <a:buSzTx/>
              <a:buFontTx/>
              <a:buNone/>
              <a:tabLst/>
              <a:defRPr sz="1800"/>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NZ" sz="1800" b="0" i="0" u="none" strike="noStrike" kern="1200" cap="none" spc="0" normalizeH="0" baseline="0" noProof="0" dirty="0">
                <a:ln>
                  <a:noFill/>
                </a:ln>
                <a:solidFill>
                  <a:prstClr val="black">
                    <a:lumMod val="50000"/>
                    <a:lumOff val="50000"/>
                  </a:prstClr>
                </a:solidFill>
                <a:effectLst/>
                <a:uLnTx/>
                <a:uFillTx/>
                <a:latin typeface="Univers" panose="020B0604020202020204" pitchFamily="34" charset="0"/>
                <a:ea typeface="+mn-ea"/>
                <a:cs typeface="+mn-cs"/>
              </a:rPr>
              <a:t>Opening paragraph style. Can be used as pull-quote style too.</a:t>
            </a:r>
          </a:p>
        </p:txBody>
      </p:sp>
      <p:sp>
        <p:nvSpPr>
          <p:cNvPr id="23" name="Text Placeholder 22">
            <a:extLst>
              <a:ext uri="{FF2B5EF4-FFF2-40B4-BE49-F238E27FC236}">
                <a16:creationId xmlns:a16="http://schemas.microsoft.com/office/drawing/2014/main" id="{007F3C2C-396E-4646-901D-B05077BA68B8}"/>
              </a:ext>
            </a:extLst>
          </p:cNvPr>
          <p:cNvSpPr>
            <a:spLocks noGrp="1"/>
          </p:cNvSpPr>
          <p:nvPr>
            <p:ph type="body" sz="quarter" idx="11" hasCustomPrompt="1"/>
          </p:nvPr>
        </p:nvSpPr>
        <p:spPr>
          <a:xfrm>
            <a:off x="561971" y="2406848"/>
            <a:ext cx="11372851" cy="307777"/>
          </a:xfrm>
          <a:prstGeom prst="rect">
            <a:avLst/>
          </a:prstGeom>
        </p:spPr>
        <p:txBody>
          <a:bodyPr>
            <a:spAutoFit/>
          </a:bodyPr>
          <a:lstStyle>
            <a:lvl1pPr marL="0" marR="0" indent="0" algn="just" defTabSz="914400" rtl="0" eaLnBrk="1" fontAlgn="auto" latinLnBrk="0" hangingPunct="1">
              <a:lnSpc>
                <a:spcPct val="100000"/>
              </a:lnSpc>
              <a:spcBef>
                <a:spcPts val="0"/>
              </a:spcBef>
              <a:spcAft>
                <a:spcPts val="600"/>
              </a:spcAft>
              <a:buClrTx/>
              <a:buSzTx/>
              <a:buFontTx/>
              <a:buNone/>
              <a:tabLst/>
              <a:defRPr sz="1200"/>
            </a:lvl1pPr>
            <a:lvl2pPr marL="457200" indent="0">
              <a:buNone/>
              <a:defRPr/>
            </a:lvl2p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NZ" sz="1400" b="0" i="0" u="none" strike="noStrike" kern="1200" cap="none" spc="0" normalizeH="0" baseline="0" noProof="0" dirty="0">
                <a:ln>
                  <a:noFill/>
                </a:ln>
                <a:solidFill>
                  <a:prstClr val="black"/>
                </a:solidFill>
                <a:effectLst/>
                <a:uLnTx/>
                <a:uFillTx/>
                <a:latin typeface="Univers" panose="020B0604020202020204" pitchFamily="34" charset="0"/>
                <a:ea typeface="+mn-ea"/>
                <a:cs typeface="+mn-cs"/>
              </a:rPr>
              <a:t>Content goes here. This is the main body copy style.</a:t>
            </a:r>
          </a:p>
        </p:txBody>
      </p:sp>
    </p:spTree>
    <p:extLst>
      <p:ext uri="{BB962C8B-B14F-4D97-AF65-F5344CB8AC3E}">
        <p14:creationId xmlns:p14="http://schemas.microsoft.com/office/powerpoint/2010/main" val="22630856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40C306E7-4E5D-4403-976E-1B34645B02E4}"/>
              </a:ext>
            </a:extLst>
          </p:cNvPr>
          <p:cNvSpPr>
            <a:spLocks noGrp="1"/>
          </p:cNvSpPr>
          <p:nvPr>
            <p:ph type="body" sz="quarter" idx="10" hasCustomPrompt="1"/>
          </p:nvPr>
        </p:nvSpPr>
        <p:spPr>
          <a:xfrm>
            <a:off x="942972" y="2376739"/>
            <a:ext cx="10991851" cy="2176212"/>
          </a:xfrm>
          <a:prstGeom prst="rect">
            <a:avLst/>
          </a:prstGeom>
          <a:noFill/>
          <a:effectLst/>
        </p:spPr>
        <p:txBody>
          <a:bodyPr bIns="180000">
            <a:noAutofit/>
          </a:bodyPr>
          <a:lstStyle>
            <a:lvl1pPr marL="0" indent="0">
              <a:buNone/>
              <a:defRPr sz="6000" b="1">
                <a:solidFill>
                  <a:schemeClr val="tx1">
                    <a:lumMod val="50000"/>
                    <a:lumOff val="50000"/>
                  </a:schemeClr>
                </a:solidFill>
                <a:latin typeface="Univers Condensed Light" panose="020B030602020204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ECTION HEADING [IN CAPS]</a:t>
            </a:r>
            <a:endParaRPr lang="en-NZ" dirty="0"/>
          </a:p>
        </p:txBody>
      </p:sp>
      <p:sp>
        <p:nvSpPr>
          <p:cNvPr id="8" name="Rectangle 7">
            <a:extLst>
              <a:ext uri="{FF2B5EF4-FFF2-40B4-BE49-F238E27FC236}">
                <a16:creationId xmlns:a16="http://schemas.microsoft.com/office/drawing/2014/main" id="{75652587-D47D-4CF2-8E2C-4926F3091490}"/>
              </a:ext>
            </a:extLst>
          </p:cNvPr>
          <p:cNvSpPr/>
          <p:nvPr userDrawn="1"/>
        </p:nvSpPr>
        <p:spPr>
          <a:xfrm>
            <a:off x="0" y="6345936"/>
            <a:ext cx="12191999" cy="51206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pic>
        <p:nvPicPr>
          <p:cNvPr id="9" name="Picture 8">
            <a:extLst>
              <a:ext uri="{FF2B5EF4-FFF2-40B4-BE49-F238E27FC236}">
                <a16:creationId xmlns:a16="http://schemas.microsoft.com/office/drawing/2014/main" id="{4CF40AAA-E11A-4601-87DF-651865A257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07039" y="6422433"/>
            <a:ext cx="1327785" cy="356842"/>
          </a:xfrm>
          <a:prstGeom prst="rect">
            <a:avLst/>
          </a:prstGeom>
        </p:spPr>
      </p:pic>
      <p:sp>
        <p:nvSpPr>
          <p:cNvPr id="10" name="TextBox 9">
            <a:extLst>
              <a:ext uri="{FF2B5EF4-FFF2-40B4-BE49-F238E27FC236}">
                <a16:creationId xmlns:a16="http://schemas.microsoft.com/office/drawing/2014/main" id="{D2646099-0399-4745-AAC7-06AC2D76F759}"/>
              </a:ext>
            </a:extLst>
          </p:cNvPr>
          <p:cNvSpPr txBox="1"/>
          <p:nvPr userDrawn="1"/>
        </p:nvSpPr>
        <p:spPr>
          <a:xfrm>
            <a:off x="428623" y="6461551"/>
            <a:ext cx="521590" cy="276999"/>
          </a:xfrm>
          <a:prstGeom prst="rect">
            <a:avLst/>
          </a:prstGeom>
          <a:noFill/>
        </p:spPr>
        <p:txBody>
          <a:bodyPr wrap="square" rtlCol="0">
            <a:spAutoFit/>
          </a:bodyPr>
          <a:lstStyle/>
          <a:p>
            <a:fld id="{C9129B97-CFEC-480F-9F02-F1F1DBD83216}" type="slidenum">
              <a:rPr lang="en-NZ" sz="1200" smtClean="0">
                <a:solidFill>
                  <a:schemeClr val="bg1"/>
                </a:solidFill>
                <a:latin typeface="Univers" panose="020B0604020202020204" pitchFamily="34" charset="0"/>
              </a:rPr>
              <a:t>‹#›</a:t>
            </a:fld>
            <a:endParaRPr lang="en-NZ" sz="1200" b="1" dirty="0">
              <a:solidFill>
                <a:schemeClr val="bg1"/>
              </a:solidFill>
              <a:latin typeface="Univers" panose="020B0604020202020204" pitchFamily="34" charset="0"/>
            </a:endParaRPr>
          </a:p>
        </p:txBody>
      </p:sp>
      <p:pic>
        <p:nvPicPr>
          <p:cNvPr id="12" name="Picture 11">
            <a:extLst>
              <a:ext uri="{FF2B5EF4-FFF2-40B4-BE49-F238E27FC236}">
                <a16:creationId xmlns:a16="http://schemas.microsoft.com/office/drawing/2014/main" id="{97EF3837-557D-4AA6-BDBF-2AC71466C5E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6888" y="6495752"/>
            <a:ext cx="1638053" cy="215257"/>
          </a:xfrm>
          <a:prstGeom prst="rect">
            <a:avLst/>
          </a:prstGeom>
        </p:spPr>
      </p:pic>
      <p:cxnSp>
        <p:nvCxnSpPr>
          <p:cNvPr id="3" name="Straight Connector 2">
            <a:extLst>
              <a:ext uri="{FF2B5EF4-FFF2-40B4-BE49-F238E27FC236}">
                <a16:creationId xmlns:a16="http://schemas.microsoft.com/office/drawing/2014/main" id="{0EDA31FB-CCEB-43E2-B4B3-26F6175EF09F}"/>
              </a:ext>
            </a:extLst>
          </p:cNvPr>
          <p:cNvCxnSpPr>
            <a:cxnSpLocks/>
          </p:cNvCxnSpPr>
          <p:nvPr userDrawn="1"/>
        </p:nvCxnSpPr>
        <p:spPr>
          <a:xfrm>
            <a:off x="895347" y="2357689"/>
            <a:ext cx="0" cy="842711"/>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255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BF55153-158D-4F1D-BF69-980B20DA13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9D81679C-0440-4962-B479-B8F718190DF1}"/>
              </a:ext>
            </a:extLst>
          </p:cNvPr>
          <p:cNvSpPr/>
          <p:nvPr userDrawn="1"/>
        </p:nvSpPr>
        <p:spPr>
          <a:xfrm>
            <a:off x="1" y="0"/>
            <a:ext cx="12191998" cy="6345935"/>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7" name="Rectangle 6">
            <a:extLst>
              <a:ext uri="{FF2B5EF4-FFF2-40B4-BE49-F238E27FC236}">
                <a16:creationId xmlns:a16="http://schemas.microsoft.com/office/drawing/2014/main" id="{6BB49976-CA12-47B1-9D7B-4AC1AC2F9D0A}"/>
              </a:ext>
            </a:extLst>
          </p:cNvPr>
          <p:cNvSpPr/>
          <p:nvPr userDrawn="1"/>
        </p:nvSpPr>
        <p:spPr>
          <a:xfrm>
            <a:off x="0" y="6345936"/>
            <a:ext cx="12191999" cy="51206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8" name="TextBox 7">
            <a:extLst>
              <a:ext uri="{FF2B5EF4-FFF2-40B4-BE49-F238E27FC236}">
                <a16:creationId xmlns:a16="http://schemas.microsoft.com/office/drawing/2014/main" id="{5950B13A-EFA1-41C3-8D86-D34F96763034}"/>
              </a:ext>
            </a:extLst>
          </p:cNvPr>
          <p:cNvSpPr txBox="1"/>
          <p:nvPr userDrawn="1"/>
        </p:nvSpPr>
        <p:spPr>
          <a:xfrm>
            <a:off x="961262" y="4197946"/>
            <a:ext cx="6363082" cy="1815882"/>
          </a:xfrm>
          <a:prstGeom prst="rect">
            <a:avLst/>
          </a:prstGeom>
          <a:noFill/>
        </p:spPr>
        <p:txBody>
          <a:bodyPr wrap="square" rtlCol="0">
            <a:spAutoFit/>
          </a:bodyPr>
          <a:lstStyle/>
          <a:p>
            <a:pPr algn="just"/>
            <a:r>
              <a:rPr lang="en-NZ" sz="800" dirty="0">
                <a:solidFill>
                  <a:schemeClr val="bg1"/>
                </a:solidFill>
                <a:latin typeface="Univers" panose="020B0604020202020204" pitchFamily="34" charset="0"/>
              </a:rPr>
              <a:t>Caterpillar and Terra Cat respectively retain all copyrights in any text, graphic images, and software owned by Caterpillar or Terra Cat and hereby authorize you to electronically copy documents published herein solely for the purpose of transmitting or viewing the information. You may not mirror, modify or otherwise alter any files in this website for rebroadcast, or print the information contained therein, without written permission from Caterpillar or Terra Cat respectively. Except as expressly provided above, nothing contained herein shall be construed as conferring any license or right under any Caterpillar or Terra Cat copyright, patent or trademark.</a:t>
            </a:r>
          </a:p>
          <a:p>
            <a:pPr algn="just"/>
            <a:endParaRPr lang="en-NZ" sz="800" dirty="0">
              <a:solidFill>
                <a:schemeClr val="bg1"/>
              </a:solidFill>
              <a:latin typeface="Univers" panose="020B0604020202020204" pitchFamily="34" charset="0"/>
            </a:endParaRPr>
          </a:p>
          <a:p>
            <a:pPr algn="just"/>
            <a:r>
              <a:rPr lang="en-NZ" sz="800" dirty="0">
                <a:solidFill>
                  <a:schemeClr val="bg1"/>
                </a:solidFill>
                <a:latin typeface="Univers" panose="020B0604020202020204" pitchFamily="34" charset="0"/>
              </a:rPr>
              <a:t>CAT, CATERPILLAR, their respective logos, and "Caterpillar Yellow," as well as corporate and product identity used herein, are trademarks of Caterpillar and may not be used without permission. Cat and Caterpillar are registered trademarks of Caterpillar Inc., 100 N.E. Adams, Peoria IL 61629.</a:t>
            </a:r>
          </a:p>
          <a:p>
            <a:pPr algn="just"/>
            <a:r>
              <a:rPr lang="en-NZ" sz="800" dirty="0">
                <a:solidFill>
                  <a:schemeClr val="bg1"/>
                </a:solidFill>
                <a:latin typeface="Univers" panose="020B0604020202020204" pitchFamily="34" charset="0"/>
              </a:rPr>
              <a:t>Terra Cat, their respective logos as well as corporate and product identity used herein, are trademarks of Terra Cat and may not be used without permission. Terra Cat is a registered trademark of Gough </a:t>
            </a:r>
            <a:r>
              <a:rPr lang="en-NZ" sz="800" dirty="0" err="1">
                <a:solidFill>
                  <a:schemeClr val="bg1"/>
                </a:solidFill>
                <a:latin typeface="Univers" panose="020B0604020202020204" pitchFamily="34" charset="0"/>
              </a:rPr>
              <a:t>Gough</a:t>
            </a:r>
            <a:r>
              <a:rPr lang="en-NZ" sz="800" dirty="0">
                <a:solidFill>
                  <a:schemeClr val="bg1"/>
                </a:solidFill>
                <a:latin typeface="Univers" panose="020B0604020202020204" pitchFamily="34" charset="0"/>
              </a:rPr>
              <a:t> and Hamer Limited, 24 Amyes Road, Hornby, Christchurch.</a:t>
            </a:r>
          </a:p>
          <a:p>
            <a:pPr algn="just"/>
            <a:endParaRPr lang="en-NZ" sz="800" dirty="0">
              <a:solidFill>
                <a:schemeClr val="bg1"/>
              </a:solidFill>
              <a:latin typeface="Univers" panose="020B0604020202020204" pitchFamily="34" charset="0"/>
            </a:endParaRPr>
          </a:p>
          <a:p>
            <a:pPr algn="just"/>
            <a:r>
              <a:rPr lang="en-NZ" sz="800" dirty="0">
                <a:solidFill>
                  <a:schemeClr val="bg1"/>
                </a:solidFill>
                <a:latin typeface="Univers" panose="020B0604020202020204" pitchFamily="34" charset="0"/>
              </a:rPr>
              <a:t>Caterpillar and Terra Cat reserve the right to change specifications without notice, therefore please check any data from this website or specification sheet with the sales consultant prior to ordering to ensure correctness.</a:t>
            </a:r>
            <a:endParaRPr lang="en-NZ" sz="800" b="1" dirty="0">
              <a:solidFill>
                <a:schemeClr val="bg1"/>
              </a:solidFill>
              <a:latin typeface="Univers" panose="020B0604020202020204" pitchFamily="34" charset="0"/>
            </a:endParaRPr>
          </a:p>
        </p:txBody>
      </p:sp>
      <p:pic>
        <p:nvPicPr>
          <p:cNvPr id="9" name="Picture 8">
            <a:extLst>
              <a:ext uri="{FF2B5EF4-FFF2-40B4-BE49-F238E27FC236}">
                <a16:creationId xmlns:a16="http://schemas.microsoft.com/office/drawing/2014/main" id="{81259022-F7CF-480E-BAD9-97705AACE2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1177" y="1044595"/>
            <a:ext cx="1856615" cy="498965"/>
          </a:xfrm>
          <a:prstGeom prst="rect">
            <a:avLst/>
          </a:prstGeom>
        </p:spPr>
      </p:pic>
      <p:cxnSp>
        <p:nvCxnSpPr>
          <p:cNvPr id="10" name="Straight Connector 9">
            <a:extLst>
              <a:ext uri="{FF2B5EF4-FFF2-40B4-BE49-F238E27FC236}">
                <a16:creationId xmlns:a16="http://schemas.microsoft.com/office/drawing/2014/main" id="{0DE3B6F8-9373-4A16-A08F-324CC015AD14}"/>
              </a:ext>
            </a:extLst>
          </p:cNvPr>
          <p:cNvCxnSpPr>
            <a:cxnSpLocks/>
          </p:cNvCxnSpPr>
          <p:nvPr userDrawn="1"/>
        </p:nvCxnSpPr>
        <p:spPr>
          <a:xfrm>
            <a:off x="0" y="6345935"/>
            <a:ext cx="1219199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4B64A853-D003-4DAD-A101-05592A2CD3C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888" y="6495752"/>
            <a:ext cx="1638053" cy="215257"/>
          </a:xfrm>
          <a:prstGeom prst="rect">
            <a:avLst/>
          </a:prstGeom>
        </p:spPr>
      </p:pic>
    </p:spTree>
    <p:extLst>
      <p:ext uri="{BB962C8B-B14F-4D97-AF65-F5344CB8AC3E}">
        <p14:creationId xmlns:p14="http://schemas.microsoft.com/office/powerpoint/2010/main" val="1236303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BE5DB5-81B0-4114-95DA-7F631CCFC401}"/>
              </a:ext>
            </a:extLst>
          </p:cNvPr>
          <p:cNvGraphicFramePr>
            <a:graphicFrameLocks noChangeAspect="1"/>
          </p:cNvGraphicFramePr>
          <p:nvPr userDrawn="1">
            <p:custDataLst>
              <p:tags r:id="rId7"/>
            </p:custDataLst>
            <p:extLst>
              <p:ext uri="{D42A27DB-BD31-4B8C-83A1-F6EECF244321}">
                <p14:modId xmlns:p14="http://schemas.microsoft.com/office/powerpoint/2010/main" val="133466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3" name="think-cell Slide" r:id="rId8" imgW="383" imgH="384" progId="TCLayout.ActiveDocument.1">
                  <p:embed/>
                </p:oleObj>
              </mc:Choice>
              <mc:Fallback>
                <p:oleObj name="think-cell Slide" r:id="rId8" imgW="383" imgH="38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8856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xStyles>
    <p:titleStyle>
      <a:lvl1pPr algn="l" defTabSz="914400" rtl="0" eaLnBrk="1" latinLnBrk="0" hangingPunct="1">
        <a:lnSpc>
          <a:spcPct val="90000"/>
        </a:lnSpc>
        <a:spcBef>
          <a:spcPct val="0"/>
        </a:spcBef>
        <a:buNone/>
        <a:defRPr sz="4400" kern="1200">
          <a:solidFill>
            <a:schemeClr val="tx1"/>
          </a:solidFill>
          <a:latin typeface="Univers"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Univers"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Univers"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Univers"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Univers"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Univers"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2.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2.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4.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5.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35.xml"/><Relationship Id="rId7" Type="http://schemas.openxmlformats.org/officeDocument/2006/relationships/diagramData" Target="../diagrams/data1.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5.emf"/><Relationship Id="rId11" Type="http://schemas.microsoft.com/office/2007/relationships/diagramDrawing" Target="../diagrams/drawing1.xml"/><Relationship Id="rId5" Type="http://schemas.openxmlformats.org/officeDocument/2006/relationships/oleObject" Target="../embeddings/oleObject18.bin"/><Relationship Id="rId10" Type="http://schemas.openxmlformats.org/officeDocument/2006/relationships/diagramColors" Target="../diagrams/colors1.xml"/><Relationship Id="rId4" Type="http://schemas.openxmlformats.org/officeDocument/2006/relationships/slideLayout" Target="../slideLayouts/slideLayout2.xml"/><Relationship Id="rId9"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emf"/><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7.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tags" Target="../tags/tag41.xml"/><Relationship Id="rId7" Type="http://schemas.openxmlformats.org/officeDocument/2006/relationships/diagramData" Target="../diagrams/data2.xml"/><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21.bin"/><Relationship Id="rId10" Type="http://schemas.openxmlformats.org/officeDocument/2006/relationships/diagramColors" Target="../diagrams/colors2.xml"/><Relationship Id="rId4" Type="http://schemas.openxmlformats.org/officeDocument/2006/relationships/slideLayout" Target="../slideLayouts/slideLayout2.xml"/><Relationship Id="rId9"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9.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0.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92598E5-F781-4EDD-9570-7A846E2A49D4}"/>
              </a:ext>
            </a:extLst>
          </p:cNvPr>
          <p:cNvSpPr txBox="1"/>
          <p:nvPr/>
        </p:nvSpPr>
        <p:spPr>
          <a:xfrm>
            <a:off x="942973" y="2395788"/>
            <a:ext cx="9753602" cy="1076577"/>
          </a:xfrm>
          <a:prstGeom prst="rect">
            <a:avLst/>
          </a:prstGeom>
          <a:noFill/>
        </p:spPr>
        <p:txBody>
          <a:bodyPr wrap="square" rtlCol="0">
            <a:spAutoFit/>
          </a:bodyPr>
          <a:lstStyle/>
          <a:p>
            <a:pPr>
              <a:lnSpc>
                <a:spcPct val="70000"/>
              </a:lnSpc>
            </a:pPr>
            <a:r>
              <a:rPr lang="en-NZ" sz="8800" b="1" dirty="0">
                <a:solidFill>
                  <a:schemeClr val="bg1"/>
                </a:solidFill>
                <a:latin typeface="Univers Condensed Light" panose="020B0306020202040204" pitchFamily="34" charset="0"/>
              </a:rPr>
              <a:t>P&amp;L &amp; Metrics</a:t>
            </a:r>
          </a:p>
        </p:txBody>
      </p:sp>
      <p:sp>
        <p:nvSpPr>
          <p:cNvPr id="10" name="TextBox 9">
            <a:extLst>
              <a:ext uri="{FF2B5EF4-FFF2-40B4-BE49-F238E27FC236}">
                <a16:creationId xmlns:a16="http://schemas.microsoft.com/office/drawing/2014/main" id="{FAB25724-8E29-472E-A7C6-FE82B3FC34A2}"/>
              </a:ext>
            </a:extLst>
          </p:cNvPr>
          <p:cNvSpPr txBox="1"/>
          <p:nvPr/>
        </p:nvSpPr>
        <p:spPr>
          <a:xfrm>
            <a:off x="965453" y="6442501"/>
            <a:ext cx="2952370" cy="276999"/>
          </a:xfrm>
          <a:prstGeom prst="rect">
            <a:avLst/>
          </a:prstGeom>
          <a:noFill/>
        </p:spPr>
        <p:txBody>
          <a:bodyPr wrap="square" rtlCol="0">
            <a:spAutoFit/>
          </a:bodyPr>
          <a:lstStyle/>
          <a:p>
            <a:r>
              <a:rPr lang="en-NZ" sz="1200" dirty="0">
                <a:solidFill>
                  <a:schemeClr val="bg1"/>
                </a:solidFill>
                <a:latin typeface="Univers" panose="020B0604020202020204" pitchFamily="34" charset="0"/>
              </a:rPr>
              <a:t>17 June 2020</a:t>
            </a:r>
            <a:endParaRPr lang="en-NZ" sz="1200" b="1" dirty="0">
              <a:solidFill>
                <a:schemeClr val="bg1"/>
              </a:solidFill>
              <a:latin typeface="Univers" panose="020B0604020202020204" pitchFamily="34" charset="0"/>
            </a:endParaRPr>
          </a:p>
        </p:txBody>
      </p:sp>
    </p:spTree>
    <p:extLst>
      <p:ext uri="{BB962C8B-B14F-4D97-AF65-F5344CB8AC3E}">
        <p14:creationId xmlns:p14="http://schemas.microsoft.com/office/powerpoint/2010/main" val="41485144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extLst>
              <p:ext uri="{D42A27DB-BD31-4B8C-83A1-F6EECF244321}">
                <p14:modId xmlns:p14="http://schemas.microsoft.com/office/powerpoint/2010/main" val="2664342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7" y="216849"/>
            <a:ext cx="11498963" cy="512064"/>
          </a:xfrm>
        </p:spPr>
        <p:txBody>
          <a:bodyPr/>
          <a:lstStyle/>
          <a:p>
            <a:r>
              <a:rPr lang="en-NZ" dirty="0"/>
              <a:t>LABOUR PRODUCTIVITY</a:t>
            </a:r>
            <a:br>
              <a:rPr lang="en-NZ" dirty="0"/>
            </a:br>
            <a:endParaRPr lang="en-NZ" dirty="0"/>
          </a:p>
        </p:txBody>
      </p:sp>
      <p:sp>
        <p:nvSpPr>
          <p:cNvPr id="8" name="TextBox 7">
            <a:extLst>
              <a:ext uri="{FF2B5EF4-FFF2-40B4-BE49-F238E27FC236}">
                <a16:creationId xmlns:a16="http://schemas.microsoft.com/office/drawing/2014/main" id="{38817D2F-C807-4C54-BF17-C148BB697814}"/>
              </a:ext>
            </a:extLst>
          </p:cNvPr>
          <p:cNvSpPr txBox="1"/>
          <p:nvPr/>
        </p:nvSpPr>
        <p:spPr>
          <a:xfrm>
            <a:off x="807868" y="1270484"/>
            <a:ext cx="10813002" cy="923330"/>
          </a:xfrm>
          <a:prstGeom prst="rect">
            <a:avLst/>
          </a:prstGeom>
          <a:noFill/>
        </p:spPr>
        <p:txBody>
          <a:bodyPr wrap="square" rtlCol="0">
            <a:spAutoFit/>
          </a:bodyPr>
          <a:lstStyle/>
          <a:p>
            <a:endParaRPr lang="en-NZ" dirty="0"/>
          </a:p>
          <a:p>
            <a:endParaRPr lang="en-NZ" dirty="0"/>
          </a:p>
          <a:p>
            <a:endParaRPr lang="en-NZ" dirty="0"/>
          </a:p>
        </p:txBody>
      </p:sp>
      <p:pic>
        <p:nvPicPr>
          <p:cNvPr id="6" name="Picture 5">
            <a:extLst>
              <a:ext uri="{FF2B5EF4-FFF2-40B4-BE49-F238E27FC236}">
                <a16:creationId xmlns:a16="http://schemas.microsoft.com/office/drawing/2014/main" id="{DCF472FD-C56D-4AB5-B701-783E122048DF}"/>
              </a:ext>
            </a:extLst>
          </p:cNvPr>
          <p:cNvPicPr>
            <a:picLocks noChangeAspect="1"/>
          </p:cNvPicPr>
          <p:nvPr/>
        </p:nvPicPr>
        <p:blipFill>
          <a:blip r:embed="rId7"/>
          <a:stretch>
            <a:fillRect/>
          </a:stretch>
        </p:blipFill>
        <p:spPr>
          <a:xfrm>
            <a:off x="337762" y="1711354"/>
            <a:ext cx="11626656" cy="4157571"/>
          </a:xfrm>
          <a:prstGeom prst="rect">
            <a:avLst/>
          </a:prstGeom>
        </p:spPr>
      </p:pic>
      <p:sp>
        <p:nvSpPr>
          <p:cNvPr id="9" name="TextBox 8">
            <a:extLst>
              <a:ext uri="{FF2B5EF4-FFF2-40B4-BE49-F238E27FC236}">
                <a16:creationId xmlns:a16="http://schemas.microsoft.com/office/drawing/2014/main" id="{53978C8C-CB4E-43C6-B0BB-F15DD017C172}"/>
              </a:ext>
            </a:extLst>
          </p:cNvPr>
          <p:cNvSpPr txBox="1"/>
          <p:nvPr/>
        </p:nvSpPr>
        <p:spPr>
          <a:xfrm>
            <a:off x="528506" y="906011"/>
            <a:ext cx="9169167" cy="369332"/>
          </a:xfrm>
          <a:prstGeom prst="rect">
            <a:avLst/>
          </a:prstGeom>
          <a:noFill/>
        </p:spPr>
        <p:txBody>
          <a:bodyPr wrap="square" rtlCol="0">
            <a:spAutoFit/>
          </a:bodyPr>
          <a:lstStyle/>
          <a:p>
            <a:r>
              <a:rPr lang="en-NZ" dirty="0"/>
              <a:t>Power BI – Indirect Activities Reporting</a:t>
            </a:r>
          </a:p>
        </p:txBody>
      </p:sp>
    </p:spTree>
    <p:extLst>
      <p:ext uri="{BB962C8B-B14F-4D97-AF65-F5344CB8AC3E}">
        <p14:creationId xmlns:p14="http://schemas.microsoft.com/office/powerpoint/2010/main" val="2773954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extLst>
              <p:ext uri="{D42A27DB-BD31-4B8C-83A1-F6EECF244321}">
                <p14:modId xmlns:p14="http://schemas.microsoft.com/office/powerpoint/2010/main" val="1119550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LABOUR EFFICIENCY %</a:t>
            </a:r>
            <a:br>
              <a:rPr lang="en-NZ" dirty="0"/>
            </a:br>
            <a:endParaRPr lang="en-NZ" dirty="0"/>
          </a:p>
        </p:txBody>
      </p:sp>
      <p:sp>
        <p:nvSpPr>
          <p:cNvPr id="5" name="TextBox 4">
            <a:extLst>
              <a:ext uri="{FF2B5EF4-FFF2-40B4-BE49-F238E27FC236}">
                <a16:creationId xmlns:a16="http://schemas.microsoft.com/office/drawing/2014/main" id="{EC444882-C05C-4201-890E-2DE468C3F346}"/>
              </a:ext>
            </a:extLst>
          </p:cNvPr>
          <p:cNvSpPr txBox="1"/>
          <p:nvPr/>
        </p:nvSpPr>
        <p:spPr>
          <a:xfrm>
            <a:off x="354625" y="1057665"/>
            <a:ext cx="5811283" cy="4524315"/>
          </a:xfrm>
          <a:prstGeom prst="rect">
            <a:avLst/>
          </a:prstGeom>
          <a:noFill/>
        </p:spPr>
        <p:txBody>
          <a:bodyPr wrap="square" rtlCol="0">
            <a:spAutoFit/>
          </a:bodyPr>
          <a:lstStyle/>
          <a:p>
            <a:r>
              <a:rPr lang="en-NZ" dirty="0">
                <a:solidFill>
                  <a:srgbClr val="0070C0"/>
                </a:solidFill>
              </a:rPr>
              <a:t>Formula:</a:t>
            </a:r>
          </a:p>
          <a:p>
            <a:endParaRPr lang="en-NZ" dirty="0"/>
          </a:p>
          <a:p>
            <a:r>
              <a:rPr lang="en-NZ" dirty="0"/>
              <a:t>	1 + (FR Labour Variance $/Labour Sales $)</a:t>
            </a:r>
          </a:p>
          <a:p>
            <a:endParaRPr lang="en-NZ" dirty="0"/>
          </a:p>
          <a:p>
            <a:r>
              <a:rPr lang="en-NZ" dirty="0">
                <a:solidFill>
                  <a:srgbClr val="0070C0"/>
                </a:solidFill>
              </a:rPr>
              <a:t>Example:</a:t>
            </a:r>
          </a:p>
          <a:p>
            <a:r>
              <a:rPr lang="en-NZ" dirty="0"/>
              <a:t>Labour of $1,000 put on job, $950 invoiced to customer.</a:t>
            </a:r>
          </a:p>
          <a:p>
            <a:endParaRPr lang="en-NZ" dirty="0"/>
          </a:p>
          <a:p>
            <a:r>
              <a:rPr lang="en-NZ" dirty="0"/>
              <a:t>1 + (-$50/$1,000) </a:t>
            </a:r>
          </a:p>
          <a:p>
            <a:r>
              <a:rPr lang="en-NZ" dirty="0"/>
              <a:t>1 + (-5%)</a:t>
            </a:r>
          </a:p>
          <a:p>
            <a:r>
              <a:rPr lang="en-NZ" dirty="0"/>
              <a:t>= 95%</a:t>
            </a:r>
          </a:p>
          <a:p>
            <a:endParaRPr lang="en-NZ" dirty="0"/>
          </a:p>
          <a:p>
            <a:r>
              <a:rPr lang="en-NZ" i="1" dirty="0"/>
              <a:t>LABOUR PRODUCTIVTY – represents how productive a technician is based on the time utilisations.</a:t>
            </a:r>
          </a:p>
          <a:p>
            <a:r>
              <a:rPr lang="en-NZ" i="1" dirty="0"/>
              <a:t>LABOUR EFFICENCEY – represent how much of the productive time is recoverable</a:t>
            </a:r>
          </a:p>
          <a:p>
            <a:endParaRPr lang="en-NZ" dirty="0"/>
          </a:p>
        </p:txBody>
      </p:sp>
      <p:pic>
        <p:nvPicPr>
          <p:cNvPr id="12" name="Picture 11">
            <a:extLst>
              <a:ext uri="{FF2B5EF4-FFF2-40B4-BE49-F238E27FC236}">
                <a16:creationId xmlns:a16="http://schemas.microsoft.com/office/drawing/2014/main" id="{8B718EC3-67A7-4406-88FF-4A3600B00BB6}"/>
              </a:ext>
            </a:extLst>
          </p:cNvPr>
          <p:cNvPicPr>
            <a:picLocks noChangeAspect="1"/>
          </p:cNvPicPr>
          <p:nvPr/>
        </p:nvPicPr>
        <p:blipFill>
          <a:blip r:embed="rId7"/>
          <a:stretch>
            <a:fillRect/>
          </a:stretch>
        </p:blipFill>
        <p:spPr>
          <a:xfrm>
            <a:off x="6673080" y="1116388"/>
            <a:ext cx="4114125" cy="4797200"/>
          </a:xfrm>
          <a:prstGeom prst="rect">
            <a:avLst/>
          </a:prstGeom>
        </p:spPr>
      </p:pic>
    </p:spTree>
    <p:extLst>
      <p:ext uri="{BB962C8B-B14F-4D97-AF65-F5344CB8AC3E}">
        <p14:creationId xmlns:p14="http://schemas.microsoft.com/office/powerpoint/2010/main" val="11021093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LABOUR EFFICIENCY %</a:t>
            </a:r>
            <a:br>
              <a:rPr lang="en-NZ" dirty="0"/>
            </a:br>
            <a:endParaRPr lang="en-NZ" dirty="0"/>
          </a:p>
        </p:txBody>
      </p:sp>
      <p:pic>
        <p:nvPicPr>
          <p:cNvPr id="12" name="Picture 11">
            <a:extLst>
              <a:ext uri="{FF2B5EF4-FFF2-40B4-BE49-F238E27FC236}">
                <a16:creationId xmlns:a16="http://schemas.microsoft.com/office/drawing/2014/main" id="{8B718EC3-67A7-4406-88FF-4A3600B00BB6}"/>
              </a:ext>
            </a:extLst>
          </p:cNvPr>
          <p:cNvPicPr>
            <a:picLocks noChangeAspect="1"/>
          </p:cNvPicPr>
          <p:nvPr/>
        </p:nvPicPr>
        <p:blipFill>
          <a:blip r:embed="rId7"/>
          <a:stretch>
            <a:fillRect/>
          </a:stretch>
        </p:blipFill>
        <p:spPr>
          <a:xfrm>
            <a:off x="708508" y="1198059"/>
            <a:ext cx="4114125" cy="4797200"/>
          </a:xfrm>
          <a:prstGeom prst="rect">
            <a:avLst/>
          </a:prstGeom>
        </p:spPr>
      </p:pic>
      <p:sp>
        <p:nvSpPr>
          <p:cNvPr id="9" name="TextBox 8">
            <a:extLst>
              <a:ext uri="{FF2B5EF4-FFF2-40B4-BE49-F238E27FC236}">
                <a16:creationId xmlns:a16="http://schemas.microsoft.com/office/drawing/2014/main" id="{03AEA777-2028-487F-9F87-2D648C966A55}"/>
              </a:ext>
            </a:extLst>
          </p:cNvPr>
          <p:cNvSpPr txBox="1"/>
          <p:nvPr/>
        </p:nvSpPr>
        <p:spPr>
          <a:xfrm>
            <a:off x="5360567" y="1105287"/>
            <a:ext cx="5537882" cy="4647426"/>
          </a:xfrm>
          <a:prstGeom prst="rect">
            <a:avLst/>
          </a:prstGeom>
          <a:noFill/>
        </p:spPr>
        <p:txBody>
          <a:bodyPr wrap="square" rtlCol="0">
            <a:spAutoFit/>
          </a:bodyPr>
          <a:lstStyle/>
          <a:p>
            <a:endParaRPr lang="en-NZ" dirty="0"/>
          </a:p>
          <a:p>
            <a:endParaRPr lang="en-NZ" dirty="0"/>
          </a:p>
          <a:p>
            <a:endParaRPr lang="en-NZ" dirty="0"/>
          </a:p>
          <a:p>
            <a:r>
              <a:rPr lang="en-NZ" sz="2000" dirty="0"/>
              <a:t>TARGET – 102%</a:t>
            </a:r>
          </a:p>
          <a:p>
            <a:endParaRPr lang="en-NZ" sz="2000" dirty="0"/>
          </a:p>
          <a:p>
            <a:r>
              <a:rPr lang="en-NZ" sz="2000" dirty="0"/>
              <a:t>Opportunity:</a:t>
            </a:r>
          </a:p>
          <a:p>
            <a:endParaRPr lang="en-NZ" sz="2000" dirty="0"/>
          </a:p>
          <a:p>
            <a:pPr marL="285750" indent="-285750">
              <a:buFont typeface="Arial" panose="020B0604020202020204" pitchFamily="34" charset="0"/>
              <a:buChar char="•"/>
            </a:pPr>
            <a:r>
              <a:rPr lang="en-NZ" dirty="0">
                <a:sym typeface="Symbol" panose="05050102010706020507" pitchFamily="18" charset="2"/>
              </a:rPr>
              <a:t> L</a:t>
            </a:r>
            <a:r>
              <a:rPr lang="en-NZ" dirty="0"/>
              <a:t>abour sales recovery at no additional labour cost</a:t>
            </a:r>
          </a:p>
          <a:p>
            <a:pPr marL="285750" indent="-285750">
              <a:buFont typeface="Arial" panose="020B0604020202020204" pitchFamily="34" charset="0"/>
              <a:buChar char="•"/>
            </a:pPr>
            <a:r>
              <a:rPr lang="en-NZ" dirty="0">
                <a:sym typeface="Symbol" panose="05050102010706020507" pitchFamily="18" charset="2"/>
              </a:rPr>
              <a:t> Labour Margin</a:t>
            </a:r>
          </a:p>
          <a:p>
            <a:pPr marL="285750" indent="-285750">
              <a:buFont typeface="Arial" panose="020B0604020202020204" pitchFamily="34" charset="0"/>
              <a:buChar char="•"/>
            </a:pPr>
            <a:r>
              <a:rPr lang="en-NZ" dirty="0">
                <a:sym typeface="Symbol" panose="05050102010706020507" pitchFamily="18" charset="2"/>
              </a:rPr>
              <a:t>FY2020 Ext Labour 60.6% &gt; 65.1 if we achieved 100% labour efficiency</a:t>
            </a:r>
            <a:endParaRPr lang="en-NZ" dirty="0"/>
          </a:p>
          <a:p>
            <a:pPr marL="285750" indent="-285750">
              <a:buFont typeface="Arial" panose="020B0604020202020204" pitchFamily="34" charset="0"/>
              <a:buChar char="•"/>
            </a:pPr>
            <a:r>
              <a:rPr lang="en-NZ" dirty="0">
                <a:sym typeface="Symbol" panose="05050102010706020507" pitchFamily="18" charset="2"/>
              </a:rPr>
              <a:t> PADE (Profit After Direct Expenses)</a:t>
            </a:r>
          </a:p>
          <a:p>
            <a:pPr marL="285750" indent="-285750">
              <a:buFont typeface="Arial" panose="020B0604020202020204" pitchFamily="34" charset="0"/>
              <a:buChar char="•"/>
            </a:pPr>
            <a:endParaRPr lang="en-NZ" dirty="0"/>
          </a:p>
          <a:p>
            <a:pPr marL="285750" indent="-285750">
              <a:buFont typeface="Arial" panose="020B0604020202020204" pitchFamily="34" charset="0"/>
              <a:buChar char="•"/>
            </a:pPr>
            <a:endParaRPr lang="en-NZ" dirty="0"/>
          </a:p>
          <a:p>
            <a:endParaRPr lang="en-NZ" dirty="0"/>
          </a:p>
          <a:p>
            <a:endParaRPr lang="en-NZ" dirty="0"/>
          </a:p>
        </p:txBody>
      </p:sp>
    </p:spTree>
    <p:extLst>
      <p:ext uri="{BB962C8B-B14F-4D97-AF65-F5344CB8AC3E}">
        <p14:creationId xmlns:p14="http://schemas.microsoft.com/office/powerpoint/2010/main" val="2977989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86"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LABOUR EFFICIENCY</a:t>
            </a:r>
            <a:br>
              <a:rPr lang="en-NZ" dirty="0"/>
            </a:br>
            <a:endParaRPr lang="en-NZ" dirty="0"/>
          </a:p>
        </p:txBody>
      </p:sp>
      <p:sp>
        <p:nvSpPr>
          <p:cNvPr id="10" name="TextBox 9">
            <a:extLst>
              <a:ext uri="{FF2B5EF4-FFF2-40B4-BE49-F238E27FC236}">
                <a16:creationId xmlns:a16="http://schemas.microsoft.com/office/drawing/2014/main" id="{0AAB86D4-1B05-4536-94B0-2BFBC02650A8}"/>
              </a:ext>
            </a:extLst>
          </p:cNvPr>
          <p:cNvSpPr txBox="1"/>
          <p:nvPr/>
        </p:nvSpPr>
        <p:spPr>
          <a:xfrm>
            <a:off x="360728" y="1155466"/>
            <a:ext cx="5537882" cy="4647426"/>
          </a:xfrm>
          <a:prstGeom prst="rect">
            <a:avLst/>
          </a:prstGeom>
          <a:noFill/>
        </p:spPr>
        <p:txBody>
          <a:bodyPr wrap="square" rtlCol="0">
            <a:spAutoFit/>
          </a:bodyPr>
          <a:lstStyle/>
          <a:p>
            <a:endParaRPr lang="en-NZ" dirty="0"/>
          </a:p>
          <a:p>
            <a:endParaRPr lang="en-NZ" dirty="0"/>
          </a:p>
          <a:p>
            <a:endParaRPr lang="en-NZ" dirty="0"/>
          </a:p>
          <a:p>
            <a:r>
              <a:rPr lang="en-NZ" sz="2000" dirty="0"/>
              <a:t>TARGET – 102%</a:t>
            </a:r>
          </a:p>
          <a:p>
            <a:endParaRPr lang="en-NZ" sz="2000" dirty="0"/>
          </a:p>
          <a:p>
            <a:r>
              <a:rPr lang="en-NZ" sz="2000" dirty="0"/>
              <a:t>Opportunity:</a:t>
            </a:r>
          </a:p>
          <a:p>
            <a:endParaRPr lang="en-NZ" sz="2000" dirty="0"/>
          </a:p>
          <a:p>
            <a:pPr marL="285750" indent="-285750">
              <a:buFont typeface="Arial" panose="020B0604020202020204" pitchFamily="34" charset="0"/>
              <a:buChar char="•"/>
            </a:pPr>
            <a:r>
              <a:rPr lang="en-NZ" dirty="0">
                <a:sym typeface="Symbol" panose="05050102010706020507" pitchFamily="18" charset="2"/>
              </a:rPr>
              <a:t> L</a:t>
            </a:r>
            <a:r>
              <a:rPr lang="en-NZ" dirty="0"/>
              <a:t>abour sales recovery at no additional labour cost</a:t>
            </a:r>
          </a:p>
          <a:p>
            <a:pPr marL="285750" indent="-285750">
              <a:buFont typeface="Arial" panose="020B0604020202020204" pitchFamily="34" charset="0"/>
              <a:buChar char="•"/>
            </a:pPr>
            <a:r>
              <a:rPr lang="en-NZ" dirty="0">
                <a:sym typeface="Symbol" panose="05050102010706020507" pitchFamily="18" charset="2"/>
              </a:rPr>
              <a:t> Labour Margin</a:t>
            </a:r>
          </a:p>
          <a:p>
            <a:pPr marL="285750" indent="-285750">
              <a:buFont typeface="Arial" panose="020B0604020202020204" pitchFamily="34" charset="0"/>
              <a:buChar char="•"/>
            </a:pPr>
            <a:r>
              <a:rPr lang="en-NZ" dirty="0">
                <a:sym typeface="Symbol" panose="05050102010706020507" pitchFamily="18" charset="2"/>
              </a:rPr>
              <a:t>FY2020 Ext Labour 60.6% &gt; 65.1 if we achieved 100% labour efficiency</a:t>
            </a:r>
            <a:endParaRPr lang="en-NZ" dirty="0"/>
          </a:p>
          <a:p>
            <a:pPr marL="285750" indent="-285750">
              <a:buFont typeface="Arial" panose="020B0604020202020204" pitchFamily="34" charset="0"/>
              <a:buChar char="•"/>
            </a:pPr>
            <a:r>
              <a:rPr lang="en-NZ" dirty="0">
                <a:sym typeface="Symbol" panose="05050102010706020507" pitchFamily="18" charset="2"/>
              </a:rPr>
              <a:t> PADE (Profit After Direct Expenses)</a:t>
            </a:r>
          </a:p>
          <a:p>
            <a:pPr marL="285750" indent="-285750">
              <a:buFont typeface="Arial" panose="020B0604020202020204" pitchFamily="34" charset="0"/>
              <a:buChar char="•"/>
            </a:pPr>
            <a:endParaRPr lang="en-NZ" dirty="0"/>
          </a:p>
          <a:p>
            <a:pPr marL="285750" indent="-285750">
              <a:buFont typeface="Arial" panose="020B0604020202020204" pitchFamily="34" charset="0"/>
              <a:buChar char="•"/>
            </a:pPr>
            <a:endParaRPr lang="en-NZ" dirty="0"/>
          </a:p>
          <a:p>
            <a:endParaRPr lang="en-NZ" dirty="0"/>
          </a:p>
          <a:p>
            <a:endParaRPr lang="en-NZ" dirty="0"/>
          </a:p>
        </p:txBody>
      </p:sp>
      <p:pic>
        <p:nvPicPr>
          <p:cNvPr id="11" name="Picture 10">
            <a:extLst>
              <a:ext uri="{FF2B5EF4-FFF2-40B4-BE49-F238E27FC236}">
                <a16:creationId xmlns:a16="http://schemas.microsoft.com/office/drawing/2014/main" id="{7B3FF43B-7731-4173-B4D6-FD2290ED53C2}"/>
              </a:ext>
            </a:extLst>
          </p:cNvPr>
          <p:cNvPicPr>
            <a:picLocks noChangeAspect="1"/>
          </p:cNvPicPr>
          <p:nvPr/>
        </p:nvPicPr>
        <p:blipFill>
          <a:blip r:embed="rId7"/>
          <a:stretch>
            <a:fillRect/>
          </a:stretch>
        </p:blipFill>
        <p:spPr>
          <a:xfrm>
            <a:off x="6034710" y="1015068"/>
            <a:ext cx="5537882" cy="4890488"/>
          </a:xfrm>
          <a:prstGeom prst="rect">
            <a:avLst/>
          </a:prstGeom>
        </p:spPr>
      </p:pic>
    </p:spTree>
    <p:extLst>
      <p:ext uri="{BB962C8B-B14F-4D97-AF65-F5344CB8AC3E}">
        <p14:creationId xmlns:p14="http://schemas.microsoft.com/office/powerpoint/2010/main" val="19748582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extLst>
              <p:ext uri="{D42A27DB-BD31-4B8C-83A1-F6EECF244321}">
                <p14:modId xmlns:p14="http://schemas.microsoft.com/office/powerpoint/2010/main" val="774125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08"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LABOUR EFFICENCY</a:t>
            </a:r>
            <a:br>
              <a:rPr lang="en-NZ" dirty="0"/>
            </a:br>
            <a:endParaRPr lang="en-NZ" dirty="0"/>
          </a:p>
        </p:txBody>
      </p:sp>
      <p:sp>
        <p:nvSpPr>
          <p:cNvPr id="8" name="TextBox 7">
            <a:extLst>
              <a:ext uri="{FF2B5EF4-FFF2-40B4-BE49-F238E27FC236}">
                <a16:creationId xmlns:a16="http://schemas.microsoft.com/office/drawing/2014/main" id="{38817D2F-C807-4C54-BF17-C148BB697814}"/>
              </a:ext>
            </a:extLst>
          </p:cNvPr>
          <p:cNvSpPr txBox="1"/>
          <p:nvPr/>
        </p:nvSpPr>
        <p:spPr>
          <a:xfrm>
            <a:off x="841695" y="1291904"/>
            <a:ext cx="11350305" cy="4801314"/>
          </a:xfrm>
          <a:prstGeom prst="rect">
            <a:avLst/>
          </a:prstGeom>
          <a:noFill/>
        </p:spPr>
        <p:txBody>
          <a:bodyPr wrap="square" rtlCol="0">
            <a:spAutoFit/>
          </a:bodyPr>
          <a:lstStyle/>
          <a:p>
            <a:endParaRPr lang="en-NZ" dirty="0"/>
          </a:p>
          <a:p>
            <a:r>
              <a:rPr lang="en-NZ" b="1" dirty="0">
                <a:solidFill>
                  <a:srgbClr val="0070C0"/>
                </a:solidFill>
              </a:rPr>
              <a:t>AREAS OF IMPROVEMENT:</a:t>
            </a:r>
          </a:p>
          <a:p>
            <a:endParaRPr lang="en-NZ" dirty="0"/>
          </a:p>
          <a:p>
            <a:pPr marL="285750" indent="-285750">
              <a:lnSpc>
                <a:spcPct val="150000"/>
              </a:lnSpc>
              <a:buFont typeface="Arial" panose="020B0604020202020204" pitchFamily="34" charset="0"/>
              <a:buChar char="•"/>
            </a:pPr>
            <a:r>
              <a:rPr lang="en-NZ" dirty="0"/>
              <a:t>Quoting - correct – no surprises</a:t>
            </a:r>
          </a:p>
          <a:p>
            <a:pPr marL="285750" indent="-285750">
              <a:lnSpc>
                <a:spcPct val="150000"/>
              </a:lnSpc>
              <a:buFont typeface="Arial" panose="020B0604020202020204" pitchFamily="34" charset="0"/>
              <a:buChar char="•"/>
            </a:pPr>
            <a:r>
              <a:rPr lang="en-NZ" dirty="0"/>
              <a:t>Signed Work Authorisation</a:t>
            </a:r>
          </a:p>
          <a:p>
            <a:pPr marL="285750" indent="-285750">
              <a:lnSpc>
                <a:spcPct val="150000"/>
              </a:lnSpc>
              <a:buFont typeface="Arial" panose="020B0604020202020204" pitchFamily="34" charset="0"/>
              <a:buChar char="•"/>
            </a:pPr>
            <a:r>
              <a:rPr lang="en-NZ" dirty="0"/>
              <a:t>Supervision</a:t>
            </a:r>
          </a:p>
          <a:p>
            <a:pPr marL="285750" indent="-285750">
              <a:lnSpc>
                <a:spcPct val="150000"/>
              </a:lnSpc>
              <a:buFont typeface="Arial" panose="020B0604020202020204" pitchFamily="34" charset="0"/>
              <a:buChar char="•"/>
            </a:pPr>
            <a:r>
              <a:rPr lang="en-NZ" dirty="0"/>
              <a:t>Better internal communication on expectations – job opening</a:t>
            </a:r>
          </a:p>
          <a:p>
            <a:pPr marL="285750" indent="-285750">
              <a:lnSpc>
                <a:spcPct val="150000"/>
              </a:lnSpc>
              <a:buFont typeface="Arial" panose="020B0604020202020204" pitchFamily="34" charset="0"/>
              <a:buChar char="•"/>
            </a:pPr>
            <a:r>
              <a:rPr lang="en-NZ" dirty="0"/>
              <a:t>Matching correct skill set to jobs</a:t>
            </a:r>
          </a:p>
          <a:p>
            <a:pPr marL="285750" indent="-285750">
              <a:lnSpc>
                <a:spcPct val="150000"/>
              </a:lnSpc>
              <a:buFont typeface="Arial" panose="020B0604020202020204" pitchFamily="34" charset="0"/>
              <a:buChar char="•"/>
            </a:pPr>
            <a:r>
              <a:rPr lang="en-NZ" dirty="0"/>
              <a:t>WIP Management</a:t>
            </a:r>
          </a:p>
          <a:p>
            <a:endParaRPr lang="en-NZ" dirty="0"/>
          </a:p>
          <a:p>
            <a:endParaRPr lang="en-NZ" dirty="0"/>
          </a:p>
          <a:p>
            <a:pPr marL="285750" indent="-285750">
              <a:buFont typeface="Arial" panose="020B0604020202020204" pitchFamily="34" charset="0"/>
              <a:buChar char="•"/>
            </a:pPr>
            <a:endParaRPr lang="en-NZ" dirty="0"/>
          </a:p>
          <a:p>
            <a:endParaRPr lang="en-NZ" dirty="0"/>
          </a:p>
          <a:p>
            <a:endParaRPr lang="en-NZ" dirty="0"/>
          </a:p>
        </p:txBody>
      </p:sp>
    </p:spTree>
    <p:extLst>
      <p:ext uri="{BB962C8B-B14F-4D97-AF65-F5344CB8AC3E}">
        <p14:creationId xmlns:p14="http://schemas.microsoft.com/office/powerpoint/2010/main" val="257680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extLst>
              <p:ext uri="{D42A27DB-BD31-4B8C-83A1-F6EECF244321}">
                <p14:modId xmlns:p14="http://schemas.microsoft.com/office/powerpoint/2010/main" val="2946631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2"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OVERTIME HOURS %</a:t>
            </a:r>
            <a:br>
              <a:rPr lang="en-NZ" dirty="0"/>
            </a:br>
            <a:endParaRPr lang="en-NZ" dirty="0"/>
          </a:p>
        </p:txBody>
      </p:sp>
      <p:sp>
        <p:nvSpPr>
          <p:cNvPr id="5" name="TextBox 4">
            <a:extLst>
              <a:ext uri="{FF2B5EF4-FFF2-40B4-BE49-F238E27FC236}">
                <a16:creationId xmlns:a16="http://schemas.microsoft.com/office/drawing/2014/main" id="{EC444882-C05C-4201-890E-2DE468C3F346}"/>
              </a:ext>
            </a:extLst>
          </p:cNvPr>
          <p:cNvSpPr txBox="1"/>
          <p:nvPr/>
        </p:nvSpPr>
        <p:spPr>
          <a:xfrm>
            <a:off x="444249" y="1107348"/>
            <a:ext cx="5839105" cy="3970318"/>
          </a:xfrm>
          <a:prstGeom prst="rect">
            <a:avLst/>
          </a:prstGeom>
          <a:noFill/>
        </p:spPr>
        <p:txBody>
          <a:bodyPr wrap="square" rtlCol="0">
            <a:spAutoFit/>
          </a:bodyPr>
          <a:lstStyle/>
          <a:p>
            <a:endParaRPr lang="en-NZ" dirty="0">
              <a:solidFill>
                <a:srgbClr val="0070C0"/>
              </a:solidFill>
            </a:endParaRPr>
          </a:p>
          <a:p>
            <a:r>
              <a:rPr lang="en-NZ" dirty="0">
                <a:solidFill>
                  <a:srgbClr val="0070C0"/>
                </a:solidFill>
              </a:rPr>
              <a:t>Formula:</a:t>
            </a:r>
            <a:endParaRPr lang="en-NZ" dirty="0"/>
          </a:p>
          <a:p>
            <a:r>
              <a:rPr lang="en-NZ" dirty="0"/>
              <a:t>(Overtime hours + Premium Hours) / Total Service Hours</a:t>
            </a:r>
          </a:p>
          <a:p>
            <a:endParaRPr lang="en-NZ" dirty="0"/>
          </a:p>
          <a:p>
            <a:endParaRPr lang="en-NZ" dirty="0"/>
          </a:p>
          <a:p>
            <a:r>
              <a:rPr lang="en-NZ" dirty="0">
                <a:solidFill>
                  <a:srgbClr val="0070C0"/>
                </a:solidFill>
              </a:rPr>
              <a:t>Example:</a:t>
            </a:r>
          </a:p>
          <a:p>
            <a:r>
              <a:rPr lang="en-NZ" dirty="0"/>
              <a:t>Standard Hours 		40</a:t>
            </a:r>
          </a:p>
          <a:p>
            <a:r>
              <a:rPr lang="en-NZ" dirty="0"/>
              <a:t>Overtime Hours		5</a:t>
            </a:r>
          </a:p>
          <a:p>
            <a:r>
              <a:rPr lang="en-NZ" dirty="0"/>
              <a:t>Premium Hours		5</a:t>
            </a:r>
          </a:p>
          <a:p>
            <a:r>
              <a:rPr lang="en-NZ" dirty="0"/>
              <a:t>Total Service Hours 		50</a:t>
            </a:r>
          </a:p>
          <a:p>
            <a:endParaRPr lang="en-NZ" dirty="0"/>
          </a:p>
          <a:p>
            <a:r>
              <a:rPr lang="en-NZ" dirty="0"/>
              <a:t>Overtime Hours % = (5+5)/50 = 20%</a:t>
            </a:r>
          </a:p>
          <a:p>
            <a:endParaRPr lang="en-NZ" dirty="0"/>
          </a:p>
          <a:p>
            <a:endParaRPr lang="en-NZ" dirty="0"/>
          </a:p>
        </p:txBody>
      </p:sp>
      <p:pic>
        <p:nvPicPr>
          <p:cNvPr id="6" name="Picture 5">
            <a:extLst>
              <a:ext uri="{FF2B5EF4-FFF2-40B4-BE49-F238E27FC236}">
                <a16:creationId xmlns:a16="http://schemas.microsoft.com/office/drawing/2014/main" id="{C02B0D68-C722-430A-84F9-B0C3726A23C2}"/>
              </a:ext>
            </a:extLst>
          </p:cNvPr>
          <p:cNvPicPr>
            <a:picLocks noChangeAspect="1"/>
          </p:cNvPicPr>
          <p:nvPr/>
        </p:nvPicPr>
        <p:blipFill>
          <a:blip r:embed="rId7"/>
          <a:stretch>
            <a:fillRect/>
          </a:stretch>
        </p:blipFill>
        <p:spPr>
          <a:xfrm>
            <a:off x="6458952" y="997277"/>
            <a:ext cx="4391382" cy="4645334"/>
          </a:xfrm>
          <a:prstGeom prst="rect">
            <a:avLst/>
          </a:prstGeom>
        </p:spPr>
      </p:pic>
    </p:spTree>
    <p:extLst>
      <p:ext uri="{BB962C8B-B14F-4D97-AF65-F5344CB8AC3E}">
        <p14:creationId xmlns:p14="http://schemas.microsoft.com/office/powerpoint/2010/main" val="24611874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54"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OVERTIME HOURS %</a:t>
            </a:r>
            <a:br>
              <a:rPr lang="en-NZ" dirty="0"/>
            </a:br>
            <a:endParaRPr lang="en-NZ" dirty="0"/>
          </a:p>
        </p:txBody>
      </p:sp>
      <p:sp>
        <p:nvSpPr>
          <p:cNvPr id="7" name="TextBox 6">
            <a:extLst>
              <a:ext uri="{FF2B5EF4-FFF2-40B4-BE49-F238E27FC236}">
                <a16:creationId xmlns:a16="http://schemas.microsoft.com/office/drawing/2014/main" id="{B4715DD6-D55E-4A08-AF4B-AC312475AF08}"/>
              </a:ext>
            </a:extLst>
          </p:cNvPr>
          <p:cNvSpPr txBox="1"/>
          <p:nvPr/>
        </p:nvSpPr>
        <p:spPr>
          <a:xfrm>
            <a:off x="360728" y="1155466"/>
            <a:ext cx="5735272" cy="4955203"/>
          </a:xfrm>
          <a:prstGeom prst="rect">
            <a:avLst/>
          </a:prstGeom>
          <a:noFill/>
        </p:spPr>
        <p:txBody>
          <a:bodyPr wrap="square" rtlCol="0">
            <a:spAutoFit/>
          </a:bodyPr>
          <a:lstStyle/>
          <a:p>
            <a:endParaRPr lang="en-NZ" dirty="0"/>
          </a:p>
          <a:p>
            <a:r>
              <a:rPr lang="en-NZ" dirty="0"/>
              <a:t>TARGET – 10%</a:t>
            </a:r>
          </a:p>
          <a:p>
            <a:endParaRPr lang="en-NZ" dirty="0"/>
          </a:p>
          <a:p>
            <a:r>
              <a:rPr lang="en-NZ" dirty="0"/>
              <a:t>Opportunity (P&amp;L Impact):</a:t>
            </a:r>
          </a:p>
          <a:p>
            <a:endParaRPr lang="en-NZ" dirty="0"/>
          </a:p>
          <a:p>
            <a:pPr marL="285750" indent="-285750">
              <a:buFont typeface="Arial" panose="020B0604020202020204" pitchFamily="34" charset="0"/>
              <a:buChar char="•"/>
            </a:pPr>
            <a:r>
              <a:rPr lang="en-NZ" dirty="0">
                <a:sym typeface="Symbol" panose="05050102010706020507" pitchFamily="18" charset="2"/>
              </a:rPr>
              <a:t> Average Labour Cost</a:t>
            </a:r>
            <a:endParaRPr lang="en-NZ" dirty="0"/>
          </a:p>
          <a:p>
            <a:pPr marL="285750" indent="-285750">
              <a:buFont typeface="Arial" panose="020B0604020202020204" pitchFamily="34" charset="0"/>
              <a:buChar char="•"/>
            </a:pPr>
            <a:r>
              <a:rPr lang="en-NZ" dirty="0">
                <a:sym typeface="Symbol" panose="05050102010706020507" pitchFamily="18" charset="2"/>
              </a:rPr>
              <a:t> Labour Margin</a:t>
            </a:r>
          </a:p>
          <a:p>
            <a:pPr marL="285750" indent="-285750">
              <a:buFont typeface="Arial" panose="020B0604020202020204" pitchFamily="34" charset="0"/>
              <a:buChar char="•"/>
            </a:pPr>
            <a:r>
              <a:rPr lang="en-NZ" dirty="0">
                <a:sym typeface="Symbol" panose="05050102010706020507" pitchFamily="18" charset="2"/>
              </a:rPr>
              <a:t> PADE (Profit After Direct Expenses)</a:t>
            </a:r>
          </a:p>
          <a:p>
            <a:pPr marL="285750" indent="-285750">
              <a:buFont typeface="Arial" panose="020B0604020202020204" pitchFamily="34" charset="0"/>
              <a:buChar char="•"/>
            </a:pPr>
            <a:endParaRPr lang="en-NZ" dirty="0"/>
          </a:p>
          <a:p>
            <a:pPr marL="285750" indent="-285750">
              <a:buFont typeface="Arial" panose="020B0604020202020204" pitchFamily="34" charset="0"/>
              <a:buChar char="•"/>
            </a:pPr>
            <a:endParaRPr lang="en-NZ" dirty="0"/>
          </a:p>
          <a:p>
            <a:r>
              <a:rPr lang="en-NZ" dirty="0"/>
              <a:t>Potential areas of focus:</a:t>
            </a:r>
          </a:p>
          <a:p>
            <a:pPr marL="285750" indent="-285750">
              <a:buFont typeface="Arial" panose="020B0604020202020204" pitchFamily="34" charset="0"/>
              <a:buChar char="•"/>
            </a:pPr>
            <a:r>
              <a:rPr lang="en-NZ" sz="1600" dirty="0"/>
              <a:t>Scheduling</a:t>
            </a:r>
          </a:p>
          <a:p>
            <a:pPr marL="285750" indent="-285750">
              <a:buFont typeface="Arial" panose="020B0604020202020204" pitchFamily="34" charset="0"/>
              <a:buChar char="•"/>
            </a:pPr>
            <a:r>
              <a:rPr lang="en-NZ" sz="1600" dirty="0"/>
              <a:t>Approval for additional hours</a:t>
            </a:r>
          </a:p>
          <a:p>
            <a:pPr marL="285750" indent="-285750">
              <a:buFont typeface="Arial" panose="020B0604020202020204" pitchFamily="34" charset="0"/>
              <a:buChar char="•"/>
            </a:pPr>
            <a:r>
              <a:rPr lang="en-NZ" sz="1600" dirty="0"/>
              <a:t>Explore flexible working hours to meet needs</a:t>
            </a:r>
          </a:p>
          <a:p>
            <a:pPr marL="285750" indent="-285750">
              <a:buFont typeface="Arial" panose="020B0604020202020204" pitchFamily="34" charset="0"/>
              <a:buChar char="•"/>
            </a:pPr>
            <a:endParaRPr lang="en-NZ" dirty="0"/>
          </a:p>
          <a:p>
            <a:r>
              <a:rPr lang="en-NZ" sz="1600" i="1" dirty="0"/>
              <a:t>*Need to be considered in conjunction with labour productivity</a:t>
            </a:r>
          </a:p>
          <a:p>
            <a:endParaRPr lang="en-NZ" dirty="0"/>
          </a:p>
          <a:p>
            <a:endParaRPr lang="en-NZ" dirty="0"/>
          </a:p>
        </p:txBody>
      </p:sp>
      <p:pic>
        <p:nvPicPr>
          <p:cNvPr id="8" name="Picture 7">
            <a:extLst>
              <a:ext uri="{FF2B5EF4-FFF2-40B4-BE49-F238E27FC236}">
                <a16:creationId xmlns:a16="http://schemas.microsoft.com/office/drawing/2014/main" id="{5E78FBE0-C2E1-429A-AC03-7FE6C20DCF8E}"/>
              </a:ext>
            </a:extLst>
          </p:cNvPr>
          <p:cNvPicPr>
            <a:picLocks noChangeAspect="1"/>
          </p:cNvPicPr>
          <p:nvPr/>
        </p:nvPicPr>
        <p:blipFill>
          <a:blip r:embed="rId7"/>
          <a:stretch>
            <a:fillRect/>
          </a:stretch>
        </p:blipFill>
        <p:spPr>
          <a:xfrm>
            <a:off x="6109734" y="1155465"/>
            <a:ext cx="5620830" cy="4758773"/>
          </a:xfrm>
          <a:prstGeom prst="rect">
            <a:avLst/>
          </a:prstGeom>
        </p:spPr>
      </p:pic>
    </p:spTree>
    <p:extLst>
      <p:ext uri="{BB962C8B-B14F-4D97-AF65-F5344CB8AC3E}">
        <p14:creationId xmlns:p14="http://schemas.microsoft.com/office/powerpoint/2010/main" val="15379367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extLst>
              <p:ext uri="{D42A27DB-BD31-4B8C-83A1-F6EECF244321}">
                <p14:modId xmlns:p14="http://schemas.microsoft.com/office/powerpoint/2010/main" val="1799797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7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DIRECT EXPENSES – Other big Rocks</a:t>
            </a:r>
            <a:br>
              <a:rPr lang="en-NZ" dirty="0"/>
            </a:br>
            <a:endParaRPr lang="en-NZ" dirty="0"/>
          </a:p>
        </p:txBody>
      </p:sp>
      <p:sp>
        <p:nvSpPr>
          <p:cNvPr id="7" name="TextBox 6">
            <a:extLst>
              <a:ext uri="{FF2B5EF4-FFF2-40B4-BE49-F238E27FC236}">
                <a16:creationId xmlns:a16="http://schemas.microsoft.com/office/drawing/2014/main" id="{B4715DD6-D55E-4A08-AF4B-AC312475AF08}"/>
              </a:ext>
            </a:extLst>
          </p:cNvPr>
          <p:cNvSpPr txBox="1"/>
          <p:nvPr/>
        </p:nvSpPr>
        <p:spPr>
          <a:xfrm>
            <a:off x="360727" y="1155465"/>
            <a:ext cx="11498963" cy="4339650"/>
          </a:xfrm>
          <a:prstGeom prst="rect">
            <a:avLst/>
          </a:prstGeom>
          <a:noFill/>
        </p:spPr>
        <p:txBody>
          <a:bodyPr wrap="square" rtlCol="0">
            <a:spAutoFit/>
          </a:bodyPr>
          <a:lstStyle/>
          <a:p>
            <a:r>
              <a:rPr lang="en-NZ" sz="2000" b="1" dirty="0">
                <a:solidFill>
                  <a:srgbClr val="0070C0"/>
                </a:solidFill>
              </a:rPr>
              <a:t>VEHICLE COST &amp; RECOVERY</a:t>
            </a:r>
          </a:p>
          <a:p>
            <a:pPr marL="285750" indent="-285750">
              <a:buFont typeface="Arial" panose="020B0604020202020204" pitchFamily="34" charset="0"/>
              <a:buChar char="•"/>
            </a:pPr>
            <a:r>
              <a:rPr lang="en-NZ" sz="1600" dirty="0"/>
              <a:t>MV lease and running cost</a:t>
            </a:r>
          </a:p>
          <a:p>
            <a:pPr marL="285750" indent="-285750">
              <a:buFont typeface="Arial" panose="020B0604020202020204" pitchFamily="34" charset="0"/>
              <a:buChar char="•"/>
            </a:pPr>
            <a:r>
              <a:rPr lang="en-NZ" sz="1600" dirty="0"/>
              <a:t>MV recoveries</a:t>
            </a:r>
          </a:p>
          <a:p>
            <a:pPr marL="285750" indent="-285750">
              <a:buFont typeface="Arial" panose="020B0604020202020204" pitchFamily="34" charset="0"/>
              <a:buChar char="•"/>
            </a:pPr>
            <a:r>
              <a:rPr lang="en-NZ" sz="1600" dirty="0"/>
              <a:t>Revenue vehicle utilisation – 60%</a:t>
            </a:r>
          </a:p>
          <a:p>
            <a:endParaRPr lang="en-NZ" dirty="0"/>
          </a:p>
          <a:p>
            <a:r>
              <a:rPr lang="en-NZ" sz="2000" b="1" dirty="0">
                <a:solidFill>
                  <a:srgbClr val="0070C0"/>
                </a:solidFill>
              </a:rPr>
              <a:t>SERVICE REDO</a:t>
            </a:r>
          </a:p>
          <a:p>
            <a:pPr marL="285750" indent="-285750">
              <a:buFont typeface="Arial" panose="020B0604020202020204" pitchFamily="34" charset="0"/>
              <a:buChar char="•"/>
            </a:pPr>
            <a:r>
              <a:rPr lang="en-NZ" sz="1600" dirty="0"/>
              <a:t>FY2020 $746K, 2% of service Sales (Target 1%)</a:t>
            </a:r>
          </a:p>
          <a:p>
            <a:endParaRPr lang="en-NZ" sz="2000" dirty="0"/>
          </a:p>
          <a:p>
            <a:r>
              <a:rPr lang="en-NZ" sz="1600" dirty="0"/>
              <a:t>Potential areas of focus:</a:t>
            </a:r>
          </a:p>
          <a:p>
            <a:pPr marL="342900" indent="-342900">
              <a:buFont typeface="Arial" panose="020B0604020202020204" pitchFamily="34" charset="0"/>
              <a:buChar char="•"/>
            </a:pPr>
            <a:r>
              <a:rPr lang="en-NZ" sz="1600" dirty="0"/>
              <a:t>Matching correct skillset to jobs</a:t>
            </a:r>
          </a:p>
          <a:p>
            <a:pPr marL="342900" indent="-342900">
              <a:buFont typeface="Arial" panose="020B0604020202020204" pitchFamily="34" charset="0"/>
              <a:buChar char="•"/>
            </a:pPr>
            <a:r>
              <a:rPr lang="en-NZ" sz="1600" dirty="0"/>
              <a:t>Supervision</a:t>
            </a:r>
          </a:p>
          <a:p>
            <a:pPr marL="342900" indent="-342900">
              <a:buFont typeface="Arial" panose="020B0604020202020204" pitchFamily="34" charset="0"/>
              <a:buChar char="•"/>
            </a:pPr>
            <a:r>
              <a:rPr lang="en-NZ" sz="1600" dirty="0"/>
              <a:t>Training</a:t>
            </a:r>
            <a:endParaRPr lang="en-NZ" sz="2000" dirty="0"/>
          </a:p>
          <a:p>
            <a:endParaRPr lang="en-NZ" sz="2000" b="1" dirty="0">
              <a:solidFill>
                <a:srgbClr val="0070C0"/>
              </a:solidFill>
            </a:endParaRPr>
          </a:p>
          <a:p>
            <a:r>
              <a:rPr lang="en-NZ" b="1" dirty="0">
                <a:solidFill>
                  <a:srgbClr val="0070C0"/>
                </a:solidFill>
              </a:rPr>
              <a:t>WIP MANAGEMENT</a:t>
            </a:r>
          </a:p>
          <a:p>
            <a:pPr marL="342900" indent="-342900">
              <a:buFont typeface="Arial" panose="020B0604020202020204" pitchFamily="34" charset="0"/>
              <a:buChar char="•"/>
            </a:pPr>
            <a:r>
              <a:rPr lang="en-NZ" sz="1600" dirty="0"/>
              <a:t>Cashflow</a:t>
            </a:r>
          </a:p>
          <a:p>
            <a:pPr marL="342900" indent="-342900">
              <a:buFont typeface="Arial" panose="020B0604020202020204" pitchFamily="34" charset="0"/>
              <a:buChar char="•"/>
            </a:pPr>
            <a:r>
              <a:rPr lang="en-NZ" sz="1600" dirty="0"/>
              <a:t>Labour Efficiency</a:t>
            </a:r>
          </a:p>
        </p:txBody>
      </p:sp>
    </p:spTree>
    <p:extLst>
      <p:ext uri="{BB962C8B-B14F-4D97-AF65-F5344CB8AC3E}">
        <p14:creationId xmlns:p14="http://schemas.microsoft.com/office/powerpoint/2010/main" val="3561641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C004A9-1F07-4C3A-8819-0E74583B0DAF}"/>
              </a:ext>
            </a:extLst>
          </p:cNvPr>
          <p:cNvGraphicFramePr>
            <a:graphicFrameLocks noChangeAspect="1"/>
          </p:cNvGraphicFramePr>
          <p:nvPr>
            <p:custDataLst>
              <p:tags r:id="rId2"/>
            </p:custDataLst>
            <p:extLst>
              <p:ext uri="{D42A27DB-BD31-4B8C-83A1-F6EECF244321}">
                <p14:modId xmlns:p14="http://schemas.microsoft.com/office/powerpoint/2010/main" val="981199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CA416B-BBD3-4AFC-8A4A-67074003220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graphicFrame>
        <p:nvGraphicFramePr>
          <p:cNvPr id="6" name="Diagram 5">
            <a:extLst>
              <a:ext uri="{FF2B5EF4-FFF2-40B4-BE49-F238E27FC236}">
                <a16:creationId xmlns:a16="http://schemas.microsoft.com/office/drawing/2014/main" id="{E7229DC0-3DB8-4DC6-8F85-82236873E94E}"/>
              </a:ext>
            </a:extLst>
          </p:cNvPr>
          <p:cNvGraphicFramePr/>
          <p:nvPr>
            <p:extLst>
              <p:ext uri="{D42A27DB-BD31-4B8C-83A1-F6EECF244321}">
                <p14:modId xmlns:p14="http://schemas.microsoft.com/office/powerpoint/2010/main" val="741809816"/>
              </p:ext>
            </p:extLst>
          </p:nvPr>
        </p:nvGraphicFramePr>
        <p:xfrm>
          <a:off x="509666" y="873138"/>
          <a:ext cx="10672996" cy="52578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itle 1">
            <a:extLst>
              <a:ext uri="{FF2B5EF4-FFF2-40B4-BE49-F238E27FC236}">
                <a16:creationId xmlns:a16="http://schemas.microsoft.com/office/drawing/2014/main" id="{3855403C-87C2-441D-B0CE-C2942119D4D5}"/>
              </a:ext>
            </a:extLst>
          </p:cNvPr>
          <p:cNvSpPr>
            <a:spLocks noGrp="1"/>
          </p:cNvSpPr>
          <p:nvPr>
            <p:ph type="title"/>
          </p:nvPr>
        </p:nvSpPr>
        <p:spPr>
          <a:xfrm>
            <a:off x="435860" y="361074"/>
            <a:ext cx="11498963" cy="512064"/>
          </a:xfrm>
        </p:spPr>
        <p:txBody>
          <a:bodyPr/>
          <a:lstStyle/>
          <a:p>
            <a:r>
              <a:rPr lang="en-NZ" dirty="0"/>
              <a:t>Service Driver Tree – Big Rocks</a:t>
            </a:r>
          </a:p>
        </p:txBody>
      </p:sp>
    </p:spTree>
    <p:extLst>
      <p:ext uri="{BB962C8B-B14F-4D97-AF65-F5344CB8AC3E}">
        <p14:creationId xmlns:p14="http://schemas.microsoft.com/office/powerpoint/2010/main" val="3204972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D7A7FA-CDC6-433D-A62E-01073C2C05F7}"/>
              </a:ext>
            </a:extLst>
          </p:cNvPr>
          <p:cNvGraphicFramePr>
            <a:graphicFrameLocks noChangeAspect="1"/>
          </p:cNvGraphicFramePr>
          <p:nvPr>
            <p:custDataLst>
              <p:tags r:id="rId2"/>
            </p:custDataLst>
            <p:extLst>
              <p:ext uri="{D42A27DB-BD31-4B8C-83A1-F6EECF244321}">
                <p14:modId xmlns:p14="http://schemas.microsoft.com/office/powerpoint/2010/main" val="23498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B9D7A7FA-CDC6-433D-A62E-01073C2C05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22CF6B3-3522-4B9C-8078-42A8A9362B8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8" name="Title 1">
            <a:extLst>
              <a:ext uri="{FF2B5EF4-FFF2-40B4-BE49-F238E27FC236}">
                <a16:creationId xmlns:a16="http://schemas.microsoft.com/office/drawing/2014/main" id="{FE3AE27E-51B0-462F-94ED-9E0FA20761E9}"/>
              </a:ext>
            </a:extLst>
          </p:cNvPr>
          <p:cNvSpPr>
            <a:spLocks noGrp="1"/>
          </p:cNvSpPr>
          <p:nvPr>
            <p:ph type="title"/>
          </p:nvPr>
        </p:nvSpPr>
        <p:spPr>
          <a:xfrm>
            <a:off x="663051" y="361074"/>
            <a:ext cx="10865900" cy="512064"/>
          </a:xfrm>
        </p:spPr>
        <p:txBody>
          <a:bodyPr/>
          <a:lstStyle/>
          <a:p>
            <a:r>
              <a:rPr lang="en-NZ" dirty="0"/>
              <a:t>Parts P &amp; L – Sales</a:t>
            </a:r>
          </a:p>
        </p:txBody>
      </p:sp>
      <p:pic>
        <p:nvPicPr>
          <p:cNvPr id="2" name="Picture 1">
            <a:extLst>
              <a:ext uri="{FF2B5EF4-FFF2-40B4-BE49-F238E27FC236}">
                <a16:creationId xmlns:a16="http://schemas.microsoft.com/office/drawing/2014/main" id="{64D3AAF4-0F75-4D3A-85E5-39855B4886C4}"/>
              </a:ext>
            </a:extLst>
          </p:cNvPr>
          <p:cNvPicPr>
            <a:picLocks noChangeAspect="1"/>
          </p:cNvPicPr>
          <p:nvPr/>
        </p:nvPicPr>
        <p:blipFill>
          <a:blip r:embed="rId7"/>
          <a:stretch>
            <a:fillRect/>
          </a:stretch>
        </p:blipFill>
        <p:spPr>
          <a:xfrm>
            <a:off x="663051" y="1364081"/>
            <a:ext cx="11028230" cy="4129838"/>
          </a:xfrm>
          <a:prstGeom prst="rect">
            <a:avLst/>
          </a:prstGeom>
        </p:spPr>
      </p:pic>
    </p:spTree>
    <p:extLst>
      <p:ext uri="{BB962C8B-B14F-4D97-AF65-F5344CB8AC3E}">
        <p14:creationId xmlns:p14="http://schemas.microsoft.com/office/powerpoint/2010/main" val="1197576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9BD056-94BC-40E8-86A1-6CE73689C4B2}"/>
              </a:ext>
            </a:extLst>
          </p:cNvPr>
          <p:cNvGraphicFramePr>
            <a:graphicFrameLocks noChangeAspect="1"/>
          </p:cNvGraphicFramePr>
          <p:nvPr>
            <p:custDataLst>
              <p:tags r:id="rId2"/>
            </p:custDataLst>
            <p:extLst>
              <p:ext uri="{D42A27DB-BD31-4B8C-83A1-F6EECF244321}">
                <p14:modId xmlns:p14="http://schemas.microsoft.com/office/powerpoint/2010/main" val="915819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9"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p:txBody>
          <a:bodyPr/>
          <a:lstStyle/>
          <a:p>
            <a:r>
              <a:rPr lang="en-NZ" dirty="0"/>
              <a:t>Content</a:t>
            </a:r>
          </a:p>
        </p:txBody>
      </p:sp>
      <p:sp>
        <p:nvSpPr>
          <p:cNvPr id="3" name="TextBox 2">
            <a:extLst>
              <a:ext uri="{FF2B5EF4-FFF2-40B4-BE49-F238E27FC236}">
                <a16:creationId xmlns:a16="http://schemas.microsoft.com/office/drawing/2014/main" id="{A61DB346-7C6D-4675-B5A6-7DDC5CA1ED00}"/>
              </a:ext>
            </a:extLst>
          </p:cNvPr>
          <p:cNvSpPr txBox="1"/>
          <p:nvPr/>
        </p:nvSpPr>
        <p:spPr>
          <a:xfrm>
            <a:off x="1211451" y="1543929"/>
            <a:ext cx="10980549" cy="3323987"/>
          </a:xfrm>
          <a:prstGeom prst="rect">
            <a:avLst/>
          </a:prstGeom>
          <a:noFill/>
        </p:spPr>
        <p:txBody>
          <a:bodyPr wrap="square" rtlCol="0">
            <a:spAutoFit/>
          </a:bodyPr>
          <a:lstStyle/>
          <a:p>
            <a:endParaRPr lang="en-NZ" sz="2400" dirty="0"/>
          </a:p>
          <a:p>
            <a:pPr marL="285750" indent="-285750">
              <a:buFont typeface="Arial" panose="020B0604020202020204" pitchFamily="34" charset="0"/>
              <a:buChar char="•"/>
            </a:pPr>
            <a:r>
              <a:rPr lang="en-NZ" sz="2400" dirty="0"/>
              <a:t>High level FY2020 P&amp;L vs FY2021</a:t>
            </a:r>
          </a:p>
          <a:p>
            <a:endParaRPr lang="en-NZ" sz="2400" dirty="0"/>
          </a:p>
          <a:p>
            <a:pPr marL="285750" indent="-285750">
              <a:buFont typeface="Arial" panose="020B0604020202020204" pitchFamily="34" charset="0"/>
              <a:buChar char="•"/>
            </a:pPr>
            <a:r>
              <a:rPr lang="en-NZ" sz="2400" dirty="0"/>
              <a:t>Key Metrics – understanding and financial impact</a:t>
            </a:r>
          </a:p>
          <a:p>
            <a:endParaRPr lang="en-NZ" sz="2400" dirty="0"/>
          </a:p>
          <a:p>
            <a:pPr marL="285750" indent="-285750">
              <a:buFont typeface="Arial" panose="020B0604020202020204" pitchFamily="34" charset="0"/>
              <a:buChar char="•"/>
            </a:pPr>
            <a:r>
              <a:rPr lang="en-NZ" sz="2400" dirty="0"/>
              <a:t>Missed Opportunities $</a:t>
            </a:r>
          </a:p>
          <a:p>
            <a:endParaRPr lang="en-NZ" sz="2400" dirty="0"/>
          </a:p>
          <a:p>
            <a:pPr marL="285750" indent="-285750">
              <a:buFont typeface="Arial" panose="020B0604020202020204" pitchFamily="34" charset="0"/>
              <a:buChar char="•"/>
            </a:pPr>
            <a:r>
              <a:rPr lang="en-NZ" sz="2400" dirty="0"/>
              <a:t>Questions</a:t>
            </a:r>
          </a:p>
          <a:p>
            <a:pPr marL="285750" indent="-285750">
              <a:buFont typeface="Arial" panose="020B0604020202020204" pitchFamily="34" charset="0"/>
              <a:buChar char="•"/>
            </a:pPr>
            <a:endParaRPr lang="en-NZ" dirty="0"/>
          </a:p>
        </p:txBody>
      </p:sp>
    </p:spTree>
    <p:extLst>
      <p:ext uri="{BB962C8B-B14F-4D97-AF65-F5344CB8AC3E}">
        <p14:creationId xmlns:p14="http://schemas.microsoft.com/office/powerpoint/2010/main" val="4695060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D7A7FA-CDC6-433D-A62E-01073C2C05F7}"/>
              </a:ext>
            </a:extLst>
          </p:cNvPr>
          <p:cNvGraphicFramePr>
            <a:graphicFrameLocks noChangeAspect="1"/>
          </p:cNvGraphicFramePr>
          <p:nvPr>
            <p:custDataLst>
              <p:tags r:id="rId2"/>
            </p:custDataLst>
            <p:extLst>
              <p:ext uri="{D42A27DB-BD31-4B8C-83A1-F6EECF244321}">
                <p14:modId xmlns:p14="http://schemas.microsoft.com/office/powerpoint/2010/main" val="295413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8"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B9D7A7FA-CDC6-433D-A62E-01073C2C05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22CF6B3-3522-4B9C-8078-42A8A9362B8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8" name="Title 1">
            <a:extLst>
              <a:ext uri="{FF2B5EF4-FFF2-40B4-BE49-F238E27FC236}">
                <a16:creationId xmlns:a16="http://schemas.microsoft.com/office/drawing/2014/main" id="{FE3AE27E-51B0-462F-94ED-9E0FA20761E9}"/>
              </a:ext>
            </a:extLst>
          </p:cNvPr>
          <p:cNvSpPr>
            <a:spLocks noGrp="1"/>
          </p:cNvSpPr>
          <p:nvPr>
            <p:ph type="title"/>
          </p:nvPr>
        </p:nvSpPr>
        <p:spPr>
          <a:xfrm>
            <a:off x="663051" y="361074"/>
            <a:ext cx="10865900" cy="512064"/>
          </a:xfrm>
        </p:spPr>
        <p:txBody>
          <a:bodyPr/>
          <a:lstStyle/>
          <a:p>
            <a:r>
              <a:rPr lang="en-NZ" dirty="0"/>
              <a:t>Parts P &amp; L – Direct Expenses</a:t>
            </a:r>
          </a:p>
        </p:txBody>
      </p:sp>
      <p:pic>
        <p:nvPicPr>
          <p:cNvPr id="3" name="Picture 2">
            <a:extLst>
              <a:ext uri="{FF2B5EF4-FFF2-40B4-BE49-F238E27FC236}">
                <a16:creationId xmlns:a16="http://schemas.microsoft.com/office/drawing/2014/main" id="{4B78A6BA-3F2B-43AD-8CBA-A228F75C1BB2}"/>
              </a:ext>
            </a:extLst>
          </p:cNvPr>
          <p:cNvPicPr>
            <a:picLocks noChangeAspect="1"/>
          </p:cNvPicPr>
          <p:nvPr/>
        </p:nvPicPr>
        <p:blipFill>
          <a:blip r:embed="rId7"/>
          <a:stretch>
            <a:fillRect/>
          </a:stretch>
        </p:blipFill>
        <p:spPr>
          <a:xfrm>
            <a:off x="663051" y="921375"/>
            <a:ext cx="9823182" cy="5276612"/>
          </a:xfrm>
          <a:prstGeom prst="rect">
            <a:avLst/>
          </a:prstGeom>
        </p:spPr>
      </p:pic>
    </p:spTree>
    <p:extLst>
      <p:ext uri="{BB962C8B-B14F-4D97-AF65-F5344CB8AC3E}">
        <p14:creationId xmlns:p14="http://schemas.microsoft.com/office/powerpoint/2010/main" val="7602545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D7A7FA-CDC6-433D-A62E-01073C2C05F7}"/>
              </a:ext>
            </a:extLst>
          </p:cNvPr>
          <p:cNvGraphicFramePr>
            <a:graphicFrameLocks noChangeAspect="1"/>
          </p:cNvGraphicFramePr>
          <p:nvPr>
            <p:custDataLst>
              <p:tags r:id="rId2"/>
            </p:custDataLst>
            <p:extLst>
              <p:ext uri="{D42A27DB-BD31-4B8C-83A1-F6EECF244321}">
                <p14:modId xmlns:p14="http://schemas.microsoft.com/office/powerpoint/2010/main" val="3236982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8"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B9D7A7FA-CDC6-433D-A62E-01073C2C05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22CF6B3-3522-4B9C-8078-42A8A9362B8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8" name="Title 1">
            <a:extLst>
              <a:ext uri="{FF2B5EF4-FFF2-40B4-BE49-F238E27FC236}">
                <a16:creationId xmlns:a16="http://schemas.microsoft.com/office/drawing/2014/main" id="{FE3AE27E-51B0-462F-94ED-9E0FA20761E9}"/>
              </a:ext>
            </a:extLst>
          </p:cNvPr>
          <p:cNvSpPr>
            <a:spLocks noGrp="1"/>
          </p:cNvSpPr>
          <p:nvPr>
            <p:ph type="title"/>
          </p:nvPr>
        </p:nvSpPr>
        <p:spPr>
          <a:xfrm>
            <a:off x="663051" y="361074"/>
            <a:ext cx="10865900" cy="512064"/>
          </a:xfrm>
        </p:spPr>
        <p:txBody>
          <a:bodyPr/>
          <a:lstStyle/>
          <a:p>
            <a:r>
              <a:rPr lang="en-NZ" dirty="0"/>
              <a:t>Parts – Key Drivers</a:t>
            </a:r>
          </a:p>
        </p:txBody>
      </p:sp>
      <p:sp>
        <p:nvSpPr>
          <p:cNvPr id="2" name="TextBox 1">
            <a:extLst>
              <a:ext uri="{FF2B5EF4-FFF2-40B4-BE49-F238E27FC236}">
                <a16:creationId xmlns:a16="http://schemas.microsoft.com/office/drawing/2014/main" id="{F146B1AC-4E9D-4D13-94CC-A5C7E94065C2}"/>
              </a:ext>
            </a:extLst>
          </p:cNvPr>
          <p:cNvSpPr txBox="1"/>
          <p:nvPr/>
        </p:nvSpPr>
        <p:spPr>
          <a:xfrm>
            <a:off x="7004481" y="617106"/>
            <a:ext cx="4027775" cy="6340197"/>
          </a:xfrm>
          <a:prstGeom prst="rect">
            <a:avLst/>
          </a:prstGeom>
          <a:noFill/>
        </p:spPr>
        <p:txBody>
          <a:bodyPr wrap="square" rtlCol="0">
            <a:spAutoFit/>
          </a:bodyPr>
          <a:lstStyle/>
          <a:p>
            <a:r>
              <a:rPr lang="en-NZ" sz="1600" b="1" dirty="0">
                <a:solidFill>
                  <a:srgbClr val="0070C0"/>
                </a:solidFill>
              </a:rPr>
              <a:t>POPS-C – Percentage of Part Sales </a:t>
            </a:r>
          </a:p>
          <a:p>
            <a:r>
              <a:rPr lang="en-NZ" sz="1600" dirty="0"/>
              <a:t>(31.6% - Target 40.0%)</a:t>
            </a:r>
          </a:p>
          <a:p>
            <a:pPr marL="285750" indent="-285750">
              <a:buFont typeface="Arial" panose="020B0604020202020204" pitchFamily="34" charset="0"/>
              <a:buChar char="•"/>
            </a:pPr>
            <a:r>
              <a:rPr lang="en-NZ" sz="1600" dirty="0"/>
              <a:t>CSAM</a:t>
            </a:r>
          </a:p>
          <a:p>
            <a:pPr marL="285750" indent="-285750">
              <a:buFont typeface="Arial" panose="020B0604020202020204" pitchFamily="34" charset="0"/>
              <a:buChar char="•"/>
            </a:pPr>
            <a:r>
              <a:rPr lang="en-NZ" sz="1600" dirty="0"/>
              <a:t>Marketing</a:t>
            </a:r>
          </a:p>
          <a:p>
            <a:pPr marL="285750" indent="-285750">
              <a:buFont typeface="Arial" panose="020B0604020202020204" pitchFamily="34" charset="0"/>
              <a:buChar char="•"/>
            </a:pPr>
            <a:r>
              <a:rPr lang="en-NZ" sz="1600" dirty="0"/>
              <a:t>Hose Sales</a:t>
            </a:r>
          </a:p>
          <a:p>
            <a:pPr marL="285750" indent="-285750">
              <a:buFont typeface="Arial" panose="020B0604020202020204" pitchFamily="34" charset="0"/>
              <a:buChar char="•"/>
            </a:pPr>
            <a:r>
              <a:rPr lang="en-NZ" sz="1600" dirty="0"/>
              <a:t>Parts.cat.com</a:t>
            </a:r>
          </a:p>
          <a:p>
            <a:pPr marL="285750" indent="-285750">
              <a:buFont typeface="Arial" panose="020B0604020202020204" pitchFamily="34" charset="0"/>
              <a:buChar char="•"/>
            </a:pPr>
            <a:r>
              <a:rPr lang="en-NZ" sz="1600" dirty="0"/>
              <a:t>OLGA opportunity</a:t>
            </a:r>
          </a:p>
          <a:p>
            <a:pPr marL="285750" indent="-285750">
              <a:buFont typeface="Arial" panose="020B0604020202020204" pitchFamily="34" charset="0"/>
              <a:buChar char="•"/>
            </a:pPr>
            <a:r>
              <a:rPr lang="en-NZ" sz="1600" dirty="0"/>
              <a:t>Increase Labour Sales</a:t>
            </a:r>
          </a:p>
          <a:p>
            <a:pPr marL="285750" indent="-285750">
              <a:buFont typeface="Arial" panose="020B0604020202020204" pitchFamily="34" charset="0"/>
              <a:buChar char="•"/>
            </a:pPr>
            <a:r>
              <a:rPr lang="en-NZ" sz="1600" dirty="0"/>
              <a:t>Data cleanse &gt; real opportunities</a:t>
            </a:r>
          </a:p>
          <a:p>
            <a:pPr marL="285750" indent="-285750">
              <a:buFont typeface="Arial" panose="020B0604020202020204" pitchFamily="34" charset="0"/>
              <a:buChar char="•"/>
            </a:pPr>
            <a:r>
              <a:rPr lang="en-NZ" sz="1600" dirty="0"/>
              <a:t>Parts Availability – stock accuracy</a:t>
            </a:r>
          </a:p>
          <a:p>
            <a:endParaRPr lang="en-NZ" sz="1600" dirty="0"/>
          </a:p>
          <a:p>
            <a:r>
              <a:rPr lang="en-NZ" sz="1600" b="1" dirty="0">
                <a:solidFill>
                  <a:srgbClr val="0070C0"/>
                </a:solidFill>
              </a:rPr>
              <a:t>MARGIN %</a:t>
            </a:r>
          </a:p>
          <a:p>
            <a:pPr marL="285750" indent="-285750">
              <a:buFont typeface="Arial" panose="020B0604020202020204" pitchFamily="34" charset="0"/>
              <a:buChar char="•"/>
            </a:pPr>
            <a:r>
              <a:rPr lang="en-NZ" sz="1600" dirty="0"/>
              <a:t>Customer base</a:t>
            </a:r>
          </a:p>
          <a:p>
            <a:pPr marL="285750" indent="-285750">
              <a:buFont typeface="Arial" panose="020B0604020202020204" pitchFamily="34" charset="0"/>
              <a:buChar char="•"/>
            </a:pPr>
            <a:r>
              <a:rPr lang="en-NZ" sz="1600" dirty="0"/>
              <a:t>Discounts – validations</a:t>
            </a:r>
          </a:p>
          <a:p>
            <a:pPr marL="285750" indent="-285750">
              <a:buFont typeface="Arial" panose="020B0604020202020204" pitchFamily="34" charset="0"/>
              <a:buChar char="•"/>
            </a:pPr>
            <a:r>
              <a:rPr lang="en-NZ" sz="1600" dirty="0"/>
              <a:t>Commodity Mix</a:t>
            </a:r>
          </a:p>
          <a:p>
            <a:endParaRPr lang="en-NZ" sz="1600" dirty="0"/>
          </a:p>
          <a:p>
            <a:r>
              <a:rPr lang="en-NZ" sz="1600" b="1" dirty="0">
                <a:solidFill>
                  <a:srgbClr val="0070C0"/>
                </a:solidFill>
              </a:rPr>
              <a:t>DIRECT EXPENSES</a:t>
            </a:r>
          </a:p>
          <a:p>
            <a:pPr marL="285750" indent="-285750">
              <a:buFont typeface="Arial" panose="020B0604020202020204" pitchFamily="34" charset="0"/>
              <a:buChar char="•"/>
            </a:pPr>
            <a:r>
              <a:rPr lang="en-NZ" sz="1600" dirty="0"/>
              <a:t>Staff Expenses</a:t>
            </a:r>
          </a:p>
          <a:p>
            <a:r>
              <a:rPr lang="en-NZ" sz="1600" dirty="0"/>
              <a:t>	- HC requirements</a:t>
            </a:r>
          </a:p>
          <a:p>
            <a:r>
              <a:rPr lang="en-NZ" sz="1600" dirty="0"/>
              <a:t>	- Internet Sales</a:t>
            </a:r>
          </a:p>
          <a:p>
            <a:pPr marL="285750" indent="-285750">
              <a:buFont typeface="Arial" panose="020B0604020202020204" pitchFamily="34" charset="0"/>
              <a:buChar char="•"/>
            </a:pPr>
            <a:r>
              <a:rPr lang="en-NZ" sz="1600" dirty="0"/>
              <a:t>Freight Cost &amp; Recovery</a:t>
            </a:r>
          </a:p>
          <a:p>
            <a:r>
              <a:rPr lang="en-NZ" sz="1600" dirty="0"/>
              <a:t>	- Value add freight activity</a:t>
            </a:r>
          </a:p>
          <a:p>
            <a:pPr marL="285750" indent="-285750">
              <a:buFont typeface="Arial" panose="020B0604020202020204" pitchFamily="34" charset="0"/>
              <a:buChar char="•"/>
            </a:pPr>
            <a:endParaRPr lang="en-NZ" dirty="0"/>
          </a:p>
          <a:p>
            <a:endParaRPr lang="en-NZ" dirty="0"/>
          </a:p>
          <a:p>
            <a:endParaRPr lang="en-NZ" dirty="0"/>
          </a:p>
        </p:txBody>
      </p:sp>
      <p:graphicFrame>
        <p:nvGraphicFramePr>
          <p:cNvPr id="6" name="Diagram 5">
            <a:extLst>
              <a:ext uri="{FF2B5EF4-FFF2-40B4-BE49-F238E27FC236}">
                <a16:creationId xmlns:a16="http://schemas.microsoft.com/office/drawing/2014/main" id="{B92BBF11-454A-4846-9AB3-FBFD5A0BA1DD}"/>
              </a:ext>
            </a:extLst>
          </p:cNvPr>
          <p:cNvGraphicFramePr/>
          <p:nvPr>
            <p:extLst>
              <p:ext uri="{D42A27DB-BD31-4B8C-83A1-F6EECF244321}">
                <p14:modId xmlns:p14="http://schemas.microsoft.com/office/powerpoint/2010/main" val="1816783121"/>
              </p:ext>
            </p:extLst>
          </p:nvPr>
        </p:nvGraphicFramePr>
        <p:xfrm>
          <a:off x="553836" y="1663056"/>
          <a:ext cx="6277027" cy="325492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2777887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D7A7FA-CDC6-433D-A62E-01073C2C05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B9D7A7FA-CDC6-433D-A62E-01073C2C05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22CF6B3-3522-4B9C-8078-42A8A9362B8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8" name="Title 1">
            <a:extLst>
              <a:ext uri="{FF2B5EF4-FFF2-40B4-BE49-F238E27FC236}">
                <a16:creationId xmlns:a16="http://schemas.microsoft.com/office/drawing/2014/main" id="{FE3AE27E-51B0-462F-94ED-9E0FA20761E9}"/>
              </a:ext>
            </a:extLst>
          </p:cNvPr>
          <p:cNvSpPr>
            <a:spLocks noGrp="1"/>
          </p:cNvSpPr>
          <p:nvPr>
            <p:ph type="title"/>
          </p:nvPr>
        </p:nvSpPr>
        <p:spPr>
          <a:xfrm>
            <a:off x="663051" y="361074"/>
            <a:ext cx="10865900" cy="512064"/>
          </a:xfrm>
        </p:spPr>
        <p:txBody>
          <a:bodyPr/>
          <a:lstStyle/>
          <a:p>
            <a:r>
              <a:rPr lang="en-NZ" dirty="0"/>
              <a:t>Parts – Key Drivers</a:t>
            </a:r>
          </a:p>
        </p:txBody>
      </p:sp>
      <p:sp>
        <p:nvSpPr>
          <p:cNvPr id="2" name="TextBox 1">
            <a:extLst>
              <a:ext uri="{FF2B5EF4-FFF2-40B4-BE49-F238E27FC236}">
                <a16:creationId xmlns:a16="http://schemas.microsoft.com/office/drawing/2014/main" id="{F146B1AC-4E9D-4D13-94CC-A5C7E94065C2}"/>
              </a:ext>
            </a:extLst>
          </p:cNvPr>
          <p:cNvSpPr txBox="1"/>
          <p:nvPr/>
        </p:nvSpPr>
        <p:spPr>
          <a:xfrm>
            <a:off x="1602298" y="1343241"/>
            <a:ext cx="9529893" cy="6124754"/>
          </a:xfrm>
          <a:prstGeom prst="rect">
            <a:avLst/>
          </a:prstGeom>
          <a:noFill/>
        </p:spPr>
        <p:txBody>
          <a:bodyPr wrap="square" rtlCol="0">
            <a:spAutoFit/>
          </a:bodyPr>
          <a:lstStyle/>
          <a:p>
            <a:r>
              <a:rPr lang="en-NZ" sz="2000" b="1" dirty="0">
                <a:solidFill>
                  <a:srgbClr val="0070C0"/>
                </a:solidFill>
              </a:rPr>
              <a:t>POPS-C </a:t>
            </a:r>
          </a:p>
          <a:p>
            <a:endParaRPr lang="en-NZ" sz="1600" b="1" dirty="0">
              <a:solidFill>
                <a:srgbClr val="0070C0"/>
              </a:solidFill>
            </a:endParaRPr>
          </a:p>
          <a:p>
            <a:r>
              <a:rPr lang="en-NZ" sz="2000" b="1" dirty="0"/>
              <a:t>Service Labour Productivity Impact </a:t>
            </a:r>
          </a:p>
          <a:p>
            <a:endParaRPr lang="en-NZ" sz="1600" dirty="0"/>
          </a:p>
          <a:p>
            <a:r>
              <a:rPr lang="en-NZ" dirty="0"/>
              <a:t>FY2020: 73.0% vs Target 83.5% (10.5%)</a:t>
            </a:r>
          </a:p>
          <a:p>
            <a:endParaRPr lang="en-NZ" dirty="0"/>
          </a:p>
          <a:p>
            <a:endParaRPr lang="en-NZ" dirty="0"/>
          </a:p>
          <a:p>
            <a:pPr marL="285750" indent="-285750">
              <a:buFont typeface="Arial" panose="020B0604020202020204" pitchFamily="34" charset="0"/>
              <a:buChar char="•"/>
            </a:pPr>
            <a:r>
              <a:rPr lang="en-NZ" dirty="0"/>
              <a:t>Unsold Hours Opportunity: 10.5% = 42,792 hours</a:t>
            </a:r>
          </a:p>
          <a:p>
            <a:endParaRPr lang="en-NZ" dirty="0"/>
          </a:p>
          <a:p>
            <a:pPr marL="285750" indent="-285750">
              <a:buFont typeface="Arial" panose="020B0604020202020204" pitchFamily="34" charset="0"/>
              <a:buChar char="•"/>
            </a:pPr>
            <a:r>
              <a:rPr lang="en-NZ" dirty="0"/>
              <a:t>Parts per sold labour hour run rate: $124.65</a:t>
            </a:r>
          </a:p>
          <a:p>
            <a:pPr marL="285750" indent="-285750">
              <a:buFont typeface="Arial" panose="020B0604020202020204" pitchFamily="34" charset="0"/>
              <a:buChar char="•"/>
            </a:pPr>
            <a:endParaRPr lang="en-NZ" dirty="0"/>
          </a:p>
          <a:p>
            <a:endParaRPr lang="en-NZ" dirty="0"/>
          </a:p>
          <a:p>
            <a:r>
              <a:rPr lang="en-NZ" dirty="0"/>
              <a:t>Parts Sales Opportunity = $5.3M</a:t>
            </a:r>
          </a:p>
          <a:p>
            <a:endParaRPr lang="en-NZ" sz="2000" dirty="0">
              <a:solidFill>
                <a:srgbClr val="0070C0"/>
              </a:solidFill>
            </a:endParaRPr>
          </a:p>
          <a:p>
            <a:r>
              <a:rPr lang="en-NZ" sz="2000" dirty="0">
                <a:solidFill>
                  <a:srgbClr val="0070C0"/>
                </a:solidFill>
              </a:rPr>
              <a:t>POPS-C 31.6% &gt;33.5%</a:t>
            </a:r>
          </a:p>
          <a:p>
            <a:endParaRPr lang="en-NZ" sz="1600" dirty="0"/>
          </a:p>
          <a:p>
            <a:r>
              <a:rPr lang="en-NZ" sz="1600" dirty="0"/>
              <a:t> </a:t>
            </a:r>
          </a:p>
          <a:p>
            <a:endParaRPr lang="en-NZ" sz="1600" b="1" dirty="0"/>
          </a:p>
          <a:p>
            <a:r>
              <a:rPr lang="en-NZ" sz="1600" b="1" dirty="0"/>
              <a:t> </a:t>
            </a:r>
          </a:p>
          <a:p>
            <a:pPr marL="285750" indent="-285750">
              <a:buFont typeface="Arial" panose="020B0604020202020204" pitchFamily="34" charset="0"/>
              <a:buChar char="•"/>
            </a:pPr>
            <a:endParaRPr lang="en-NZ" dirty="0"/>
          </a:p>
          <a:p>
            <a:endParaRPr lang="en-NZ" dirty="0"/>
          </a:p>
          <a:p>
            <a:endParaRPr lang="en-NZ" dirty="0"/>
          </a:p>
        </p:txBody>
      </p:sp>
      <p:cxnSp>
        <p:nvCxnSpPr>
          <p:cNvPr id="5" name="Straight Connector 4">
            <a:extLst>
              <a:ext uri="{FF2B5EF4-FFF2-40B4-BE49-F238E27FC236}">
                <a16:creationId xmlns:a16="http://schemas.microsoft.com/office/drawing/2014/main" id="{A1DA626D-CF1F-45B6-865E-58A5E07876FA}"/>
              </a:ext>
            </a:extLst>
          </p:cNvPr>
          <p:cNvCxnSpPr>
            <a:cxnSpLocks/>
          </p:cNvCxnSpPr>
          <p:nvPr/>
        </p:nvCxnSpPr>
        <p:spPr>
          <a:xfrm>
            <a:off x="1602298" y="2961314"/>
            <a:ext cx="5134062" cy="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0B87DA40-4C48-481E-9473-5E49FD9DF097}"/>
              </a:ext>
            </a:extLst>
          </p:cNvPr>
          <p:cNvCxnSpPr>
            <a:cxnSpLocks/>
          </p:cNvCxnSpPr>
          <p:nvPr/>
        </p:nvCxnSpPr>
        <p:spPr>
          <a:xfrm>
            <a:off x="1526797" y="4405618"/>
            <a:ext cx="5134062"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362822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4741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9ACD9FE-5D44-496C-B1B8-20B1DE82A3DC}"/>
              </a:ext>
            </a:extLst>
          </p:cNvPr>
          <p:cNvGraphicFramePr>
            <a:graphicFrameLocks noChangeAspect="1"/>
          </p:cNvGraphicFramePr>
          <p:nvPr>
            <p:custDataLst>
              <p:tags r:id="rId2"/>
            </p:custDataLst>
            <p:extLst>
              <p:ext uri="{D42A27DB-BD31-4B8C-83A1-F6EECF244321}">
                <p14:modId xmlns:p14="http://schemas.microsoft.com/office/powerpoint/2010/main" val="1767933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0"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4E94445-E49B-484C-8AD7-F3EF5922EBD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663051" y="361074"/>
            <a:ext cx="10865900" cy="512064"/>
          </a:xfrm>
        </p:spPr>
        <p:txBody>
          <a:bodyPr/>
          <a:lstStyle/>
          <a:p>
            <a:r>
              <a:rPr lang="en-NZ" dirty="0"/>
              <a:t>Service P &amp; L – Sales</a:t>
            </a:r>
          </a:p>
        </p:txBody>
      </p:sp>
      <p:pic>
        <p:nvPicPr>
          <p:cNvPr id="9" name="Picture 8">
            <a:extLst>
              <a:ext uri="{FF2B5EF4-FFF2-40B4-BE49-F238E27FC236}">
                <a16:creationId xmlns:a16="http://schemas.microsoft.com/office/drawing/2014/main" id="{1CF03535-8F37-46D5-91DA-FBCDE4D29176}"/>
              </a:ext>
            </a:extLst>
          </p:cNvPr>
          <p:cNvPicPr>
            <a:picLocks noChangeAspect="1"/>
          </p:cNvPicPr>
          <p:nvPr/>
        </p:nvPicPr>
        <p:blipFill>
          <a:blip r:embed="rId7"/>
          <a:stretch>
            <a:fillRect/>
          </a:stretch>
        </p:blipFill>
        <p:spPr>
          <a:xfrm>
            <a:off x="663050" y="976543"/>
            <a:ext cx="10865900" cy="5193437"/>
          </a:xfrm>
          <a:prstGeom prst="rect">
            <a:avLst/>
          </a:prstGeom>
        </p:spPr>
      </p:pic>
    </p:spTree>
    <p:extLst>
      <p:ext uri="{BB962C8B-B14F-4D97-AF65-F5344CB8AC3E}">
        <p14:creationId xmlns:p14="http://schemas.microsoft.com/office/powerpoint/2010/main" val="20631873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D7A7FA-CDC6-433D-A62E-01073C2C05F7}"/>
              </a:ext>
            </a:extLst>
          </p:cNvPr>
          <p:cNvGraphicFramePr>
            <a:graphicFrameLocks noChangeAspect="1"/>
          </p:cNvGraphicFramePr>
          <p:nvPr>
            <p:custDataLst>
              <p:tags r:id="rId2"/>
            </p:custDataLst>
            <p:extLst>
              <p:ext uri="{D42A27DB-BD31-4B8C-83A1-F6EECF244321}">
                <p14:modId xmlns:p14="http://schemas.microsoft.com/office/powerpoint/2010/main" val="1334273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3"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22CF6B3-3522-4B9C-8078-42A8A9362B8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8" name="Title 1">
            <a:extLst>
              <a:ext uri="{FF2B5EF4-FFF2-40B4-BE49-F238E27FC236}">
                <a16:creationId xmlns:a16="http://schemas.microsoft.com/office/drawing/2014/main" id="{FE3AE27E-51B0-462F-94ED-9E0FA20761E9}"/>
              </a:ext>
            </a:extLst>
          </p:cNvPr>
          <p:cNvSpPr>
            <a:spLocks noGrp="1"/>
          </p:cNvSpPr>
          <p:nvPr>
            <p:ph type="title"/>
          </p:nvPr>
        </p:nvSpPr>
        <p:spPr>
          <a:xfrm>
            <a:off x="663051" y="361074"/>
            <a:ext cx="10865900" cy="512064"/>
          </a:xfrm>
        </p:spPr>
        <p:txBody>
          <a:bodyPr/>
          <a:lstStyle/>
          <a:p>
            <a:r>
              <a:rPr lang="en-NZ" dirty="0"/>
              <a:t>Service P &amp; L – Direct Expenses</a:t>
            </a:r>
          </a:p>
        </p:txBody>
      </p:sp>
      <p:pic>
        <p:nvPicPr>
          <p:cNvPr id="3" name="Picture 2">
            <a:extLst>
              <a:ext uri="{FF2B5EF4-FFF2-40B4-BE49-F238E27FC236}">
                <a16:creationId xmlns:a16="http://schemas.microsoft.com/office/drawing/2014/main" id="{70E294E2-6A06-4FFF-9F54-92426EB609FA}"/>
              </a:ext>
            </a:extLst>
          </p:cNvPr>
          <p:cNvPicPr>
            <a:picLocks noChangeAspect="1"/>
          </p:cNvPicPr>
          <p:nvPr/>
        </p:nvPicPr>
        <p:blipFill>
          <a:blip r:embed="rId7"/>
          <a:stretch>
            <a:fillRect/>
          </a:stretch>
        </p:blipFill>
        <p:spPr>
          <a:xfrm>
            <a:off x="743347" y="944444"/>
            <a:ext cx="9784888" cy="5313743"/>
          </a:xfrm>
          <a:prstGeom prst="rect">
            <a:avLst/>
          </a:prstGeom>
        </p:spPr>
      </p:pic>
    </p:spTree>
    <p:extLst>
      <p:ext uri="{BB962C8B-B14F-4D97-AF65-F5344CB8AC3E}">
        <p14:creationId xmlns:p14="http://schemas.microsoft.com/office/powerpoint/2010/main" val="27765747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extLst>
              <p:ext uri="{D42A27DB-BD31-4B8C-83A1-F6EECF244321}">
                <p14:modId xmlns:p14="http://schemas.microsoft.com/office/powerpoint/2010/main" val="422923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9"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Service Hours Breakdown</a:t>
            </a:r>
            <a:br>
              <a:rPr lang="en-NZ" dirty="0"/>
            </a:br>
            <a:endParaRPr lang="en-NZ" dirty="0"/>
          </a:p>
        </p:txBody>
      </p:sp>
      <p:pic>
        <p:nvPicPr>
          <p:cNvPr id="5" name="Picture 4">
            <a:extLst>
              <a:ext uri="{FF2B5EF4-FFF2-40B4-BE49-F238E27FC236}">
                <a16:creationId xmlns:a16="http://schemas.microsoft.com/office/drawing/2014/main" id="{A5BF37A0-22E1-4168-9600-10F662B875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4111" y="686586"/>
            <a:ext cx="7416561" cy="55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9DCF25DE-BB7E-42D6-92D3-9D1E36F3C5B2}"/>
              </a:ext>
            </a:extLst>
          </p:cNvPr>
          <p:cNvSpPr txBox="1"/>
          <p:nvPr/>
        </p:nvSpPr>
        <p:spPr>
          <a:xfrm>
            <a:off x="7800672" y="762087"/>
            <a:ext cx="4142540" cy="5078313"/>
          </a:xfrm>
          <a:prstGeom prst="rect">
            <a:avLst/>
          </a:prstGeom>
          <a:noFill/>
        </p:spPr>
        <p:txBody>
          <a:bodyPr wrap="square" rtlCol="0">
            <a:spAutoFit/>
          </a:bodyPr>
          <a:lstStyle/>
          <a:p>
            <a:endParaRPr lang="en-NZ" dirty="0"/>
          </a:p>
          <a:p>
            <a:endParaRPr lang="en-NZ" dirty="0"/>
          </a:p>
          <a:p>
            <a:r>
              <a:rPr lang="en-NZ" sz="2000" b="1" dirty="0">
                <a:solidFill>
                  <a:srgbClr val="0070C0"/>
                </a:solidFill>
              </a:rPr>
              <a:t>LABOUR UTILISATION</a:t>
            </a:r>
          </a:p>
          <a:p>
            <a:endParaRPr lang="en-NZ" dirty="0"/>
          </a:p>
          <a:p>
            <a:r>
              <a:rPr lang="en-NZ" dirty="0"/>
              <a:t>(Billable Hours / Total Service Hours)</a:t>
            </a:r>
          </a:p>
          <a:p>
            <a:endParaRPr lang="en-NZ" dirty="0"/>
          </a:p>
          <a:p>
            <a:endParaRPr lang="en-NZ" dirty="0"/>
          </a:p>
          <a:p>
            <a:endParaRPr lang="en-NZ" dirty="0"/>
          </a:p>
          <a:p>
            <a:r>
              <a:rPr lang="en-NZ" sz="2000" b="1" dirty="0">
                <a:solidFill>
                  <a:srgbClr val="0070C0"/>
                </a:solidFill>
              </a:rPr>
              <a:t>LABOUR PRODUCTIVITY</a:t>
            </a:r>
          </a:p>
          <a:p>
            <a:endParaRPr lang="en-NZ" dirty="0"/>
          </a:p>
          <a:p>
            <a:r>
              <a:rPr lang="en-NZ" dirty="0"/>
              <a:t>(Billable Hours / *Attended Hours)</a:t>
            </a:r>
          </a:p>
          <a:p>
            <a:endParaRPr lang="en-NZ" dirty="0"/>
          </a:p>
          <a:p>
            <a:r>
              <a:rPr lang="en-NZ" sz="1600" i="1" dirty="0"/>
              <a:t>(*Attended Hours = Total Service Hours –  Allowed Hours)</a:t>
            </a:r>
          </a:p>
          <a:p>
            <a:endParaRPr lang="en-NZ" dirty="0"/>
          </a:p>
          <a:p>
            <a:endParaRPr lang="en-NZ" dirty="0"/>
          </a:p>
          <a:p>
            <a:endParaRPr lang="en-NZ" dirty="0"/>
          </a:p>
          <a:p>
            <a:endParaRPr lang="en-NZ" dirty="0"/>
          </a:p>
        </p:txBody>
      </p:sp>
    </p:spTree>
    <p:extLst>
      <p:ext uri="{BB962C8B-B14F-4D97-AF65-F5344CB8AC3E}">
        <p14:creationId xmlns:p14="http://schemas.microsoft.com/office/powerpoint/2010/main" val="6339577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extLst>
              <p:ext uri="{D42A27DB-BD31-4B8C-83A1-F6EECF244321}">
                <p14:modId xmlns:p14="http://schemas.microsoft.com/office/powerpoint/2010/main" val="176701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LABOUR PRODUCTIVITY %</a:t>
            </a:r>
            <a:br>
              <a:rPr lang="en-NZ" dirty="0"/>
            </a:br>
            <a:endParaRPr lang="en-NZ" dirty="0"/>
          </a:p>
        </p:txBody>
      </p:sp>
      <p:sp>
        <p:nvSpPr>
          <p:cNvPr id="8" name="TextBox 7">
            <a:extLst>
              <a:ext uri="{FF2B5EF4-FFF2-40B4-BE49-F238E27FC236}">
                <a16:creationId xmlns:a16="http://schemas.microsoft.com/office/drawing/2014/main" id="{38817D2F-C807-4C54-BF17-C148BB697814}"/>
              </a:ext>
            </a:extLst>
          </p:cNvPr>
          <p:cNvSpPr txBox="1"/>
          <p:nvPr/>
        </p:nvSpPr>
        <p:spPr>
          <a:xfrm>
            <a:off x="5016617" y="830510"/>
            <a:ext cx="6853805" cy="4616648"/>
          </a:xfrm>
          <a:prstGeom prst="rect">
            <a:avLst/>
          </a:prstGeom>
          <a:noFill/>
        </p:spPr>
        <p:txBody>
          <a:bodyPr wrap="square" rtlCol="0">
            <a:spAutoFit/>
          </a:bodyPr>
          <a:lstStyle/>
          <a:p>
            <a:endParaRPr lang="en-NZ" dirty="0"/>
          </a:p>
          <a:p>
            <a:endParaRPr lang="en-NZ" dirty="0"/>
          </a:p>
          <a:p>
            <a:endParaRPr lang="en-NZ" dirty="0"/>
          </a:p>
          <a:p>
            <a:r>
              <a:rPr lang="en-NZ" sz="2400" dirty="0"/>
              <a:t>TARGET – 83.5%</a:t>
            </a:r>
          </a:p>
          <a:p>
            <a:endParaRPr lang="en-NZ" sz="2400" dirty="0"/>
          </a:p>
          <a:p>
            <a:r>
              <a:rPr lang="en-NZ" sz="2400" dirty="0"/>
              <a:t>Opportunity (P&amp;L Impact):</a:t>
            </a:r>
          </a:p>
          <a:p>
            <a:pPr algn="ctr"/>
            <a:endParaRPr lang="en-NZ" dirty="0"/>
          </a:p>
          <a:p>
            <a:pPr algn="ctr"/>
            <a:r>
              <a:rPr lang="en-NZ" sz="9600" dirty="0"/>
              <a:t>?</a:t>
            </a:r>
          </a:p>
          <a:p>
            <a:pPr marL="285750" indent="-285750">
              <a:buFont typeface="Arial" panose="020B0604020202020204" pitchFamily="34" charset="0"/>
              <a:buChar char="•"/>
            </a:pPr>
            <a:endParaRPr lang="en-NZ" dirty="0"/>
          </a:p>
          <a:p>
            <a:endParaRPr lang="en-NZ" dirty="0"/>
          </a:p>
          <a:p>
            <a:endParaRPr lang="en-NZ" dirty="0"/>
          </a:p>
        </p:txBody>
      </p:sp>
      <p:pic>
        <p:nvPicPr>
          <p:cNvPr id="9" name="Picture 8">
            <a:extLst>
              <a:ext uri="{FF2B5EF4-FFF2-40B4-BE49-F238E27FC236}">
                <a16:creationId xmlns:a16="http://schemas.microsoft.com/office/drawing/2014/main" id="{1362483E-0E3C-46EC-A2A3-E2F8F507028E}"/>
              </a:ext>
            </a:extLst>
          </p:cNvPr>
          <p:cNvPicPr>
            <a:picLocks noChangeAspect="1"/>
          </p:cNvPicPr>
          <p:nvPr/>
        </p:nvPicPr>
        <p:blipFill>
          <a:blip r:embed="rId7"/>
          <a:stretch>
            <a:fillRect/>
          </a:stretch>
        </p:blipFill>
        <p:spPr>
          <a:xfrm>
            <a:off x="696286" y="911279"/>
            <a:ext cx="3909270" cy="5293062"/>
          </a:xfrm>
          <a:prstGeom prst="rect">
            <a:avLst/>
          </a:prstGeom>
        </p:spPr>
      </p:pic>
    </p:spTree>
    <p:extLst>
      <p:ext uri="{BB962C8B-B14F-4D97-AF65-F5344CB8AC3E}">
        <p14:creationId xmlns:p14="http://schemas.microsoft.com/office/powerpoint/2010/main" val="2083971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0"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LABOUR PRODUCTIVITY</a:t>
            </a:r>
            <a:br>
              <a:rPr lang="en-NZ" dirty="0"/>
            </a:br>
            <a:endParaRPr lang="en-NZ" dirty="0"/>
          </a:p>
        </p:txBody>
      </p:sp>
      <p:sp>
        <p:nvSpPr>
          <p:cNvPr id="8" name="TextBox 7">
            <a:extLst>
              <a:ext uri="{FF2B5EF4-FFF2-40B4-BE49-F238E27FC236}">
                <a16:creationId xmlns:a16="http://schemas.microsoft.com/office/drawing/2014/main" id="{38817D2F-C807-4C54-BF17-C148BB697814}"/>
              </a:ext>
            </a:extLst>
          </p:cNvPr>
          <p:cNvSpPr txBox="1"/>
          <p:nvPr/>
        </p:nvSpPr>
        <p:spPr>
          <a:xfrm>
            <a:off x="5016617" y="830510"/>
            <a:ext cx="6853805" cy="5262979"/>
          </a:xfrm>
          <a:prstGeom prst="rect">
            <a:avLst/>
          </a:prstGeom>
          <a:noFill/>
        </p:spPr>
        <p:txBody>
          <a:bodyPr wrap="square" rtlCol="0">
            <a:spAutoFit/>
          </a:bodyPr>
          <a:lstStyle/>
          <a:p>
            <a:endParaRPr lang="en-NZ" dirty="0"/>
          </a:p>
          <a:p>
            <a:endParaRPr lang="en-NZ" dirty="0"/>
          </a:p>
          <a:p>
            <a:endParaRPr lang="en-NZ" dirty="0"/>
          </a:p>
          <a:p>
            <a:r>
              <a:rPr lang="en-NZ" sz="2400" dirty="0"/>
              <a:t>TARGET – 83.5%</a:t>
            </a:r>
          </a:p>
          <a:p>
            <a:endParaRPr lang="en-NZ" sz="2400" dirty="0"/>
          </a:p>
          <a:p>
            <a:r>
              <a:rPr lang="en-NZ" sz="2400" dirty="0"/>
              <a:t>Opportunity (P&amp;L Impact):</a:t>
            </a:r>
          </a:p>
          <a:p>
            <a:endParaRPr lang="en-NZ" dirty="0"/>
          </a:p>
          <a:p>
            <a:pPr marL="285750" indent="-285750">
              <a:buFont typeface="Arial" panose="020B0604020202020204" pitchFamily="34" charset="0"/>
              <a:buChar char="•"/>
            </a:pPr>
            <a:r>
              <a:rPr lang="en-NZ" sz="2000" dirty="0">
                <a:sym typeface="Symbol" panose="05050102010706020507" pitchFamily="18" charset="2"/>
              </a:rPr>
              <a:t> L</a:t>
            </a:r>
            <a:r>
              <a:rPr lang="en-NZ" sz="2000" dirty="0"/>
              <a:t>abour sales at no additional labour cost</a:t>
            </a:r>
          </a:p>
          <a:p>
            <a:pPr marL="285750" indent="-285750">
              <a:buFont typeface="Arial" panose="020B0604020202020204" pitchFamily="34" charset="0"/>
              <a:buChar char="•"/>
            </a:pPr>
            <a:r>
              <a:rPr lang="en-NZ" sz="2000" dirty="0">
                <a:sym typeface="Symbol" panose="05050102010706020507" pitchFamily="18" charset="2"/>
              </a:rPr>
              <a:t> D</a:t>
            </a:r>
            <a:r>
              <a:rPr lang="en-NZ" sz="2000" dirty="0"/>
              <a:t>irect expenses via reduction in expensed time</a:t>
            </a:r>
          </a:p>
          <a:p>
            <a:pPr marL="285750" indent="-285750">
              <a:buFont typeface="Arial" panose="020B0604020202020204" pitchFamily="34" charset="0"/>
              <a:buChar char="•"/>
            </a:pPr>
            <a:r>
              <a:rPr lang="en-NZ" sz="2000" dirty="0">
                <a:sym typeface="Symbol" panose="05050102010706020507" pitchFamily="18" charset="2"/>
              </a:rPr>
              <a:t></a:t>
            </a:r>
            <a:r>
              <a:rPr lang="en-NZ" sz="2000" dirty="0"/>
              <a:t> Outwork sales</a:t>
            </a:r>
          </a:p>
          <a:p>
            <a:pPr marL="285750" indent="-285750">
              <a:buFont typeface="Arial" panose="020B0604020202020204" pitchFamily="34" charset="0"/>
              <a:buChar char="•"/>
            </a:pPr>
            <a:r>
              <a:rPr lang="en-NZ" sz="2000" dirty="0">
                <a:sym typeface="Symbol" panose="05050102010706020507" pitchFamily="18" charset="2"/>
              </a:rPr>
              <a:t> </a:t>
            </a:r>
            <a:r>
              <a:rPr lang="en-NZ" sz="2000" dirty="0"/>
              <a:t>Parts sales</a:t>
            </a:r>
          </a:p>
          <a:p>
            <a:pPr marL="285750" indent="-285750">
              <a:buFont typeface="Arial" panose="020B0604020202020204" pitchFamily="34" charset="0"/>
              <a:buChar char="•"/>
            </a:pPr>
            <a:r>
              <a:rPr lang="en-NZ" sz="2000" dirty="0">
                <a:sym typeface="Symbol" panose="05050102010706020507" pitchFamily="18" charset="2"/>
              </a:rPr>
              <a:t> Increase recoveries</a:t>
            </a:r>
          </a:p>
          <a:p>
            <a:pPr marL="285750" indent="-285750">
              <a:buFont typeface="Arial" panose="020B0604020202020204" pitchFamily="34" charset="0"/>
              <a:buChar char="•"/>
            </a:pPr>
            <a:r>
              <a:rPr lang="en-NZ" sz="2000" dirty="0">
                <a:sym typeface="Symbol" panose="05050102010706020507" pitchFamily="18" charset="2"/>
              </a:rPr>
              <a:t> PADE (Profit After Direct Expenses)</a:t>
            </a:r>
          </a:p>
          <a:p>
            <a:pPr marL="285750" indent="-285750">
              <a:buFont typeface="Arial" panose="020B0604020202020204" pitchFamily="34" charset="0"/>
              <a:buChar char="•"/>
            </a:pPr>
            <a:endParaRPr lang="en-NZ" dirty="0"/>
          </a:p>
          <a:p>
            <a:pPr marL="285750" indent="-285750">
              <a:buFont typeface="Arial" panose="020B0604020202020204" pitchFamily="34" charset="0"/>
              <a:buChar char="•"/>
            </a:pPr>
            <a:endParaRPr lang="en-NZ" dirty="0"/>
          </a:p>
          <a:p>
            <a:endParaRPr lang="en-NZ" dirty="0"/>
          </a:p>
          <a:p>
            <a:endParaRPr lang="en-NZ" dirty="0"/>
          </a:p>
        </p:txBody>
      </p:sp>
      <p:pic>
        <p:nvPicPr>
          <p:cNvPr id="9" name="Picture 8">
            <a:extLst>
              <a:ext uri="{FF2B5EF4-FFF2-40B4-BE49-F238E27FC236}">
                <a16:creationId xmlns:a16="http://schemas.microsoft.com/office/drawing/2014/main" id="{1362483E-0E3C-46EC-A2A3-E2F8F507028E}"/>
              </a:ext>
            </a:extLst>
          </p:cNvPr>
          <p:cNvPicPr>
            <a:picLocks noChangeAspect="1"/>
          </p:cNvPicPr>
          <p:nvPr/>
        </p:nvPicPr>
        <p:blipFill>
          <a:blip r:embed="rId7"/>
          <a:stretch>
            <a:fillRect/>
          </a:stretch>
        </p:blipFill>
        <p:spPr>
          <a:xfrm>
            <a:off x="696286" y="911279"/>
            <a:ext cx="3909270" cy="5293062"/>
          </a:xfrm>
          <a:prstGeom prst="rect">
            <a:avLst/>
          </a:prstGeom>
        </p:spPr>
      </p:pic>
    </p:spTree>
    <p:extLst>
      <p:ext uri="{BB962C8B-B14F-4D97-AF65-F5344CB8AC3E}">
        <p14:creationId xmlns:p14="http://schemas.microsoft.com/office/powerpoint/2010/main" val="603183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1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LABOUR PRODUCTIVITY</a:t>
            </a:r>
            <a:br>
              <a:rPr lang="en-NZ" dirty="0"/>
            </a:br>
            <a:endParaRPr lang="en-NZ" dirty="0"/>
          </a:p>
        </p:txBody>
      </p:sp>
      <p:pic>
        <p:nvPicPr>
          <p:cNvPr id="7" name="Picture 6">
            <a:extLst>
              <a:ext uri="{FF2B5EF4-FFF2-40B4-BE49-F238E27FC236}">
                <a16:creationId xmlns:a16="http://schemas.microsoft.com/office/drawing/2014/main" id="{74C5AA01-AEC5-40D9-BF5D-EC9792B376B3}"/>
              </a:ext>
            </a:extLst>
          </p:cNvPr>
          <p:cNvPicPr>
            <a:picLocks noChangeAspect="1"/>
          </p:cNvPicPr>
          <p:nvPr/>
        </p:nvPicPr>
        <p:blipFill>
          <a:blip r:embed="rId7"/>
          <a:stretch>
            <a:fillRect/>
          </a:stretch>
        </p:blipFill>
        <p:spPr>
          <a:xfrm>
            <a:off x="444249" y="896928"/>
            <a:ext cx="5707747" cy="5067644"/>
          </a:xfrm>
          <a:prstGeom prst="rect">
            <a:avLst/>
          </a:prstGeom>
        </p:spPr>
      </p:pic>
      <p:sp>
        <p:nvSpPr>
          <p:cNvPr id="8" name="TextBox 7">
            <a:extLst>
              <a:ext uri="{FF2B5EF4-FFF2-40B4-BE49-F238E27FC236}">
                <a16:creationId xmlns:a16="http://schemas.microsoft.com/office/drawing/2014/main" id="{38817D2F-C807-4C54-BF17-C148BB697814}"/>
              </a:ext>
            </a:extLst>
          </p:cNvPr>
          <p:cNvSpPr txBox="1"/>
          <p:nvPr/>
        </p:nvSpPr>
        <p:spPr>
          <a:xfrm>
            <a:off x="6266576" y="830510"/>
            <a:ext cx="5603846" cy="5262979"/>
          </a:xfrm>
          <a:prstGeom prst="rect">
            <a:avLst/>
          </a:prstGeom>
          <a:noFill/>
        </p:spPr>
        <p:txBody>
          <a:bodyPr wrap="square" rtlCol="0">
            <a:spAutoFit/>
          </a:bodyPr>
          <a:lstStyle/>
          <a:p>
            <a:endParaRPr lang="en-NZ" dirty="0"/>
          </a:p>
          <a:p>
            <a:endParaRPr lang="en-NZ" dirty="0"/>
          </a:p>
          <a:p>
            <a:endParaRPr lang="en-NZ" dirty="0"/>
          </a:p>
          <a:p>
            <a:r>
              <a:rPr lang="en-NZ" sz="2400" dirty="0"/>
              <a:t>TARGET – 83.5%</a:t>
            </a:r>
          </a:p>
          <a:p>
            <a:endParaRPr lang="en-NZ" sz="2400" dirty="0"/>
          </a:p>
          <a:p>
            <a:r>
              <a:rPr lang="en-NZ" sz="2400" dirty="0"/>
              <a:t>Opportunity (P&amp;L Impact):</a:t>
            </a:r>
          </a:p>
          <a:p>
            <a:endParaRPr lang="en-NZ" dirty="0"/>
          </a:p>
          <a:p>
            <a:pPr marL="285750" indent="-285750">
              <a:buFont typeface="Arial" panose="020B0604020202020204" pitchFamily="34" charset="0"/>
              <a:buChar char="•"/>
            </a:pPr>
            <a:r>
              <a:rPr lang="en-NZ" sz="2000" dirty="0">
                <a:sym typeface="Symbol" panose="05050102010706020507" pitchFamily="18" charset="2"/>
              </a:rPr>
              <a:t> L</a:t>
            </a:r>
            <a:r>
              <a:rPr lang="en-NZ" sz="2000" dirty="0"/>
              <a:t>abour sales at no additional labour cost</a:t>
            </a:r>
          </a:p>
          <a:p>
            <a:pPr marL="285750" indent="-285750">
              <a:buFont typeface="Arial" panose="020B0604020202020204" pitchFamily="34" charset="0"/>
              <a:buChar char="•"/>
            </a:pPr>
            <a:r>
              <a:rPr lang="en-NZ" sz="2000" dirty="0">
                <a:sym typeface="Symbol" panose="05050102010706020507" pitchFamily="18" charset="2"/>
              </a:rPr>
              <a:t> D</a:t>
            </a:r>
            <a:r>
              <a:rPr lang="en-NZ" sz="2000" dirty="0"/>
              <a:t>irect expenses via reduction in expensed time</a:t>
            </a:r>
          </a:p>
          <a:p>
            <a:pPr marL="285750" indent="-285750">
              <a:buFont typeface="Arial" panose="020B0604020202020204" pitchFamily="34" charset="0"/>
              <a:buChar char="•"/>
            </a:pPr>
            <a:r>
              <a:rPr lang="en-NZ" sz="2000" dirty="0">
                <a:sym typeface="Symbol" panose="05050102010706020507" pitchFamily="18" charset="2"/>
              </a:rPr>
              <a:t></a:t>
            </a:r>
            <a:r>
              <a:rPr lang="en-NZ" sz="2000" dirty="0"/>
              <a:t> Outwork sales</a:t>
            </a:r>
          </a:p>
          <a:p>
            <a:pPr marL="285750" indent="-285750">
              <a:buFont typeface="Arial" panose="020B0604020202020204" pitchFamily="34" charset="0"/>
              <a:buChar char="•"/>
            </a:pPr>
            <a:r>
              <a:rPr lang="en-NZ" sz="2000" dirty="0">
                <a:sym typeface="Symbol" panose="05050102010706020507" pitchFamily="18" charset="2"/>
              </a:rPr>
              <a:t> </a:t>
            </a:r>
            <a:r>
              <a:rPr lang="en-NZ" sz="2000" dirty="0"/>
              <a:t>Parts sales</a:t>
            </a:r>
          </a:p>
          <a:p>
            <a:pPr marL="285750" indent="-285750">
              <a:buFont typeface="Arial" panose="020B0604020202020204" pitchFamily="34" charset="0"/>
              <a:buChar char="•"/>
            </a:pPr>
            <a:r>
              <a:rPr lang="en-NZ" sz="2000" dirty="0">
                <a:sym typeface="Symbol" panose="05050102010706020507" pitchFamily="18" charset="2"/>
              </a:rPr>
              <a:t> Increase recoveries</a:t>
            </a:r>
          </a:p>
          <a:p>
            <a:pPr marL="285750" indent="-285750">
              <a:buFont typeface="Arial" panose="020B0604020202020204" pitchFamily="34" charset="0"/>
              <a:buChar char="•"/>
            </a:pPr>
            <a:r>
              <a:rPr lang="en-NZ" sz="2000" dirty="0">
                <a:sym typeface="Symbol" panose="05050102010706020507" pitchFamily="18" charset="2"/>
              </a:rPr>
              <a:t> PADE</a:t>
            </a:r>
          </a:p>
          <a:p>
            <a:pPr marL="285750" indent="-285750">
              <a:buFont typeface="Arial" panose="020B0604020202020204" pitchFamily="34" charset="0"/>
              <a:buChar char="•"/>
            </a:pPr>
            <a:endParaRPr lang="en-NZ" dirty="0"/>
          </a:p>
          <a:p>
            <a:pPr marL="285750" indent="-285750">
              <a:buFont typeface="Arial" panose="020B0604020202020204" pitchFamily="34" charset="0"/>
              <a:buChar char="•"/>
            </a:pPr>
            <a:endParaRPr lang="en-NZ" dirty="0"/>
          </a:p>
          <a:p>
            <a:endParaRPr lang="en-NZ" dirty="0"/>
          </a:p>
          <a:p>
            <a:endParaRPr lang="en-NZ" dirty="0"/>
          </a:p>
        </p:txBody>
      </p:sp>
    </p:spTree>
    <p:extLst>
      <p:ext uri="{BB962C8B-B14F-4D97-AF65-F5344CB8AC3E}">
        <p14:creationId xmlns:p14="http://schemas.microsoft.com/office/powerpoint/2010/main" val="8680756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73327-BBAB-4A2A-925E-678B6DC5A6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0573327-BBAB-4A2A-925E-678B6DC5A6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FCE36A-D9AF-450F-B88E-CCEECA0C49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NZ" sz="4000" b="1" dirty="0">
              <a:latin typeface="Univers Condensed Light" panose="020B0306020202040204" pitchFamily="34" charset="0"/>
              <a:ea typeface="+mj-ea"/>
              <a:cs typeface="+mj-cs"/>
              <a:sym typeface="Univers Condensed Light" panose="020B0306020202040204" pitchFamily="34" charset="0"/>
            </a:endParaRPr>
          </a:p>
        </p:txBody>
      </p:sp>
      <p:sp>
        <p:nvSpPr>
          <p:cNvPr id="2" name="Title 1">
            <a:extLst>
              <a:ext uri="{FF2B5EF4-FFF2-40B4-BE49-F238E27FC236}">
                <a16:creationId xmlns:a16="http://schemas.microsoft.com/office/drawing/2014/main" id="{C093350D-6FB1-4674-AAC3-AF5ED82F047A}"/>
              </a:ext>
            </a:extLst>
          </p:cNvPr>
          <p:cNvSpPr>
            <a:spLocks noGrp="1"/>
          </p:cNvSpPr>
          <p:nvPr>
            <p:ph type="title"/>
          </p:nvPr>
        </p:nvSpPr>
        <p:spPr>
          <a:xfrm>
            <a:off x="444249" y="174522"/>
            <a:ext cx="11498963" cy="512064"/>
          </a:xfrm>
        </p:spPr>
        <p:txBody>
          <a:bodyPr/>
          <a:lstStyle/>
          <a:p>
            <a:r>
              <a:rPr lang="en-NZ" dirty="0"/>
              <a:t>LABOUR PRODUCTIVITY</a:t>
            </a:r>
            <a:br>
              <a:rPr lang="en-NZ" dirty="0"/>
            </a:br>
            <a:endParaRPr lang="en-NZ" dirty="0"/>
          </a:p>
        </p:txBody>
      </p:sp>
      <p:sp>
        <p:nvSpPr>
          <p:cNvPr id="8" name="TextBox 7">
            <a:extLst>
              <a:ext uri="{FF2B5EF4-FFF2-40B4-BE49-F238E27FC236}">
                <a16:creationId xmlns:a16="http://schemas.microsoft.com/office/drawing/2014/main" id="{38817D2F-C807-4C54-BF17-C148BB697814}"/>
              </a:ext>
            </a:extLst>
          </p:cNvPr>
          <p:cNvSpPr txBox="1"/>
          <p:nvPr/>
        </p:nvSpPr>
        <p:spPr>
          <a:xfrm>
            <a:off x="787229" y="1295651"/>
            <a:ext cx="10813002" cy="4154984"/>
          </a:xfrm>
          <a:prstGeom prst="rect">
            <a:avLst/>
          </a:prstGeom>
          <a:noFill/>
        </p:spPr>
        <p:txBody>
          <a:bodyPr wrap="square" rtlCol="0">
            <a:spAutoFit/>
          </a:bodyPr>
          <a:lstStyle/>
          <a:p>
            <a:endParaRPr lang="en-NZ" dirty="0"/>
          </a:p>
          <a:p>
            <a:r>
              <a:rPr lang="en-NZ" sz="2000" b="1" dirty="0">
                <a:solidFill>
                  <a:srgbClr val="0070C0"/>
                </a:solidFill>
              </a:rPr>
              <a:t>AREAS OF IMPROVEMENT:</a:t>
            </a:r>
          </a:p>
          <a:p>
            <a:endParaRPr lang="en-NZ" sz="2000" dirty="0"/>
          </a:p>
          <a:p>
            <a:pPr marL="285750" indent="-285750">
              <a:lnSpc>
                <a:spcPct val="150000"/>
              </a:lnSpc>
              <a:buFont typeface="Arial" panose="020B0604020202020204" pitchFamily="34" charset="0"/>
              <a:buChar char="•"/>
            </a:pPr>
            <a:r>
              <a:rPr lang="en-NZ" sz="2000" dirty="0"/>
              <a:t>Advance Job Planning </a:t>
            </a:r>
          </a:p>
          <a:p>
            <a:pPr marL="285750" indent="-285750">
              <a:lnSpc>
                <a:spcPct val="150000"/>
              </a:lnSpc>
              <a:buFont typeface="Arial" panose="020B0604020202020204" pitchFamily="34" charset="0"/>
              <a:buChar char="•"/>
            </a:pPr>
            <a:r>
              <a:rPr lang="en-NZ" sz="2000" dirty="0"/>
              <a:t>Scheduling – leverage digital app benefits</a:t>
            </a:r>
          </a:p>
          <a:p>
            <a:pPr marL="285750" indent="-285750">
              <a:lnSpc>
                <a:spcPct val="150000"/>
              </a:lnSpc>
              <a:buFont typeface="Arial" panose="020B0604020202020204" pitchFamily="34" charset="0"/>
              <a:buChar char="•"/>
            </a:pPr>
            <a:r>
              <a:rPr lang="en-NZ" sz="2000" dirty="0"/>
              <a:t>Marketing</a:t>
            </a:r>
          </a:p>
          <a:p>
            <a:pPr marL="285750" indent="-285750">
              <a:lnSpc>
                <a:spcPct val="150000"/>
              </a:lnSpc>
              <a:buFont typeface="Arial" panose="020B0604020202020204" pitchFamily="34" charset="0"/>
              <a:buChar char="•"/>
            </a:pPr>
            <a:r>
              <a:rPr lang="en-NZ" sz="2000" dirty="0"/>
              <a:t>CSAMs </a:t>
            </a:r>
          </a:p>
          <a:p>
            <a:pPr marL="285750" indent="-285750">
              <a:lnSpc>
                <a:spcPct val="150000"/>
              </a:lnSpc>
              <a:buFont typeface="Arial" panose="020B0604020202020204" pitchFamily="34" charset="0"/>
              <a:buChar char="•"/>
            </a:pPr>
            <a:r>
              <a:rPr lang="en-NZ" sz="2000" dirty="0"/>
              <a:t>Technician on Loan</a:t>
            </a:r>
          </a:p>
          <a:p>
            <a:endParaRPr lang="en-NZ" sz="2000" dirty="0"/>
          </a:p>
          <a:p>
            <a:endParaRPr lang="en-NZ" dirty="0"/>
          </a:p>
          <a:p>
            <a:endParaRPr lang="en-NZ" dirty="0"/>
          </a:p>
        </p:txBody>
      </p:sp>
    </p:spTree>
    <p:extLst>
      <p:ext uri="{BB962C8B-B14F-4D97-AF65-F5344CB8AC3E}">
        <p14:creationId xmlns:p14="http://schemas.microsoft.com/office/powerpoint/2010/main" val="1141194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LPcPxuKGjbopj9.53au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nGj7g6F2Nt1rcqXwoaY5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nGj7g6F2Nt1rcqXwoaY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nGj7g6F2Nt1rcqXwoaY5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nGj7g6F2Nt1rcqXwoa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iAJQ2QNwwt6NaDGo4.z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nGj7g6F2Nt1rcqXwoaY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Yna21ir3gG2odyZ0XRKj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43</TotalTime>
  <Words>751</Words>
  <Application>Microsoft Office PowerPoint</Application>
  <PresentationFormat>Widescreen</PresentationFormat>
  <Paragraphs>253</Paragraphs>
  <Slides>2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Arial Nova Cond</vt:lpstr>
      <vt:lpstr>Calibri</vt:lpstr>
      <vt:lpstr>Univers</vt:lpstr>
      <vt:lpstr>Univers Condensed Light</vt:lpstr>
      <vt:lpstr>Office Theme</vt:lpstr>
      <vt:lpstr>think-cell Slide</vt:lpstr>
      <vt:lpstr>PowerPoint Presentation</vt:lpstr>
      <vt:lpstr>Content</vt:lpstr>
      <vt:lpstr>Service P &amp; L – Sales</vt:lpstr>
      <vt:lpstr>Service P &amp; L – Direct Expenses</vt:lpstr>
      <vt:lpstr>Service Hours Breakdown </vt:lpstr>
      <vt:lpstr>LABOUR PRODUCTIVITY % </vt:lpstr>
      <vt:lpstr>LABOUR PRODUCTIVITY </vt:lpstr>
      <vt:lpstr>LABOUR PRODUCTIVITY </vt:lpstr>
      <vt:lpstr>LABOUR PRODUCTIVITY </vt:lpstr>
      <vt:lpstr>LABOUR PRODUCTIVITY </vt:lpstr>
      <vt:lpstr>LABOUR EFFICIENCY % </vt:lpstr>
      <vt:lpstr>LABOUR EFFICIENCY % </vt:lpstr>
      <vt:lpstr>LABOUR EFFICIENCY </vt:lpstr>
      <vt:lpstr>LABOUR EFFICENCY </vt:lpstr>
      <vt:lpstr>OVERTIME HOURS % </vt:lpstr>
      <vt:lpstr>OVERTIME HOURS % </vt:lpstr>
      <vt:lpstr>DIRECT EXPENSES – Other big Rocks </vt:lpstr>
      <vt:lpstr>Service Driver Tree – Big Rocks</vt:lpstr>
      <vt:lpstr>Parts P &amp; L – Sales</vt:lpstr>
      <vt:lpstr>Parts P &amp; L – Direct Expenses</vt:lpstr>
      <vt:lpstr>Parts – Key Drivers</vt:lpstr>
      <vt:lpstr>Parts – Key Drive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Quin Lawson</dc:creator>
  <cp:lastModifiedBy>Julie Taylor</cp:lastModifiedBy>
  <cp:revision>179</cp:revision>
  <cp:lastPrinted>2020-07-20T20:54:11Z</cp:lastPrinted>
  <dcterms:created xsi:type="dcterms:W3CDTF">2020-01-08T20:31:24Z</dcterms:created>
  <dcterms:modified xsi:type="dcterms:W3CDTF">2020-08-12T23:18:39Z</dcterms:modified>
</cp:coreProperties>
</file>